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notesSlides/notesSlide1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7.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8.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15.xml" ContentType="application/vnd.openxmlformats-officedocument.presentationml.tags+xml"/>
  <Override PartName="/ppt/notesSlides/notesSlide3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4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5.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46.xml" ContentType="application/vnd.openxmlformats-officedocument.presentationml.notesSlide+xml"/>
  <Override PartName="/ppt/tags/tag18.xml" ContentType="application/vnd.openxmlformats-officedocument.presentationml.tags+xml"/>
  <Override PartName="/ppt/notesSlides/notesSlide4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6"/>
    <p:sldMasterId id="2147483757" r:id="rId17"/>
    <p:sldMasterId id="2147483763" r:id="rId18"/>
  </p:sldMasterIdLst>
  <p:notesMasterIdLst>
    <p:notesMasterId r:id="rId78"/>
  </p:notesMasterIdLst>
  <p:handoutMasterIdLst>
    <p:handoutMasterId r:id="rId79"/>
  </p:handoutMasterIdLst>
  <p:sldIdLst>
    <p:sldId id="260" r:id="rId19"/>
    <p:sldId id="1601" r:id="rId20"/>
    <p:sldId id="561" r:id="rId21"/>
    <p:sldId id="534" r:id="rId22"/>
    <p:sldId id="1602" r:id="rId23"/>
    <p:sldId id="257" r:id="rId24"/>
    <p:sldId id="476" r:id="rId25"/>
    <p:sldId id="461" r:id="rId26"/>
    <p:sldId id="605" r:id="rId27"/>
    <p:sldId id="606" r:id="rId28"/>
    <p:sldId id="327" r:id="rId29"/>
    <p:sldId id="1499" r:id="rId30"/>
    <p:sldId id="531" r:id="rId31"/>
    <p:sldId id="1502" r:id="rId32"/>
    <p:sldId id="1503" r:id="rId33"/>
    <p:sldId id="608" r:id="rId34"/>
    <p:sldId id="612" r:id="rId35"/>
    <p:sldId id="1596" r:id="rId36"/>
    <p:sldId id="1597" r:id="rId37"/>
    <p:sldId id="620" r:id="rId38"/>
    <p:sldId id="560" r:id="rId39"/>
    <p:sldId id="564" r:id="rId40"/>
    <p:sldId id="565" r:id="rId41"/>
    <p:sldId id="1501" r:id="rId42"/>
    <p:sldId id="622" r:id="rId43"/>
    <p:sldId id="623" r:id="rId44"/>
    <p:sldId id="566" r:id="rId45"/>
    <p:sldId id="625" r:id="rId46"/>
    <p:sldId id="626" r:id="rId47"/>
    <p:sldId id="585" r:id="rId48"/>
    <p:sldId id="586" r:id="rId49"/>
    <p:sldId id="652" r:id="rId50"/>
    <p:sldId id="653" r:id="rId51"/>
    <p:sldId id="654" r:id="rId52"/>
    <p:sldId id="656" r:id="rId53"/>
    <p:sldId id="657" r:id="rId54"/>
    <p:sldId id="1595" r:id="rId55"/>
    <p:sldId id="616" r:id="rId56"/>
    <p:sldId id="1593" r:id="rId57"/>
    <p:sldId id="1594" r:id="rId58"/>
    <p:sldId id="645" r:id="rId59"/>
    <p:sldId id="628" r:id="rId60"/>
    <p:sldId id="629" r:id="rId61"/>
    <p:sldId id="659" r:id="rId62"/>
    <p:sldId id="666" r:id="rId63"/>
    <p:sldId id="658" r:id="rId64"/>
    <p:sldId id="1603" r:id="rId65"/>
    <p:sldId id="1604" r:id="rId66"/>
    <p:sldId id="581" r:id="rId67"/>
    <p:sldId id="583" r:id="rId68"/>
    <p:sldId id="582" r:id="rId69"/>
    <p:sldId id="604" r:id="rId70"/>
    <p:sldId id="1605" r:id="rId71"/>
    <p:sldId id="1606" r:id="rId72"/>
    <p:sldId id="593" r:id="rId73"/>
    <p:sldId id="584" r:id="rId74"/>
    <p:sldId id="1607" r:id="rId75"/>
    <p:sldId id="1608" r:id="rId76"/>
    <p:sldId id="259" r:id="rId77"/>
  </p:sldIdLst>
  <p:sldSz cx="12192000" cy="6858000"/>
  <p:notesSz cx="6858000" cy="9144000"/>
  <p:custDataLst>
    <p:tags r:id="rId8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1601"/>
          </p14:sldIdLst>
        </p14:section>
        <p14:section name="Lesson 1: Index Internals" id="{25ADF4C8-2200-4410-9F45-B05F5BA6D4E6}">
          <p14:sldIdLst>
            <p14:sldId id="561"/>
            <p14:sldId id="534"/>
            <p14:sldId id="1602"/>
            <p14:sldId id="257"/>
            <p14:sldId id="476"/>
            <p14:sldId id="461"/>
            <p14:sldId id="605"/>
            <p14:sldId id="606"/>
            <p14:sldId id="327"/>
            <p14:sldId id="1499"/>
            <p14:sldId id="531"/>
            <p14:sldId id="1502"/>
            <p14:sldId id="1503"/>
            <p14:sldId id="608"/>
            <p14:sldId id="612"/>
            <p14:sldId id="1596"/>
            <p14:sldId id="1597"/>
            <p14:sldId id="620"/>
            <p14:sldId id="560"/>
          </p14:sldIdLst>
        </p14:section>
        <p14:section name="Lesson 2: Index Strategy" id="{6F639A05-2893-48A9-A600-6681E43668C4}">
          <p14:sldIdLst>
            <p14:sldId id="564"/>
            <p14:sldId id="565"/>
            <p14:sldId id="1501"/>
            <p14:sldId id="622"/>
            <p14:sldId id="623"/>
            <p14:sldId id="566"/>
            <p14:sldId id="625"/>
            <p14:sldId id="626"/>
          </p14:sldIdLst>
        </p14:section>
        <p14:section name="Lesson 3: Index Monitoring and Fragmentation" id="{116884A5-6A67-4FED-B1AB-448E0EBD0925}">
          <p14:sldIdLst>
            <p14:sldId id="585"/>
            <p14:sldId id="586"/>
            <p14:sldId id="652"/>
            <p14:sldId id="653"/>
            <p14:sldId id="654"/>
            <p14:sldId id="656"/>
            <p14:sldId id="657"/>
            <p14:sldId id="1595"/>
            <p14:sldId id="616"/>
            <p14:sldId id="1593"/>
            <p14:sldId id="1594"/>
            <p14:sldId id="645"/>
            <p14:sldId id="628"/>
            <p14:sldId id="629"/>
            <p14:sldId id="659"/>
            <p14:sldId id="666"/>
            <p14:sldId id="658"/>
          </p14:sldIdLst>
        </p14:section>
        <p14:section name="Lesson 4: SQL Server Statistics Internals" id="{21D0B304-F609-4D70-8B0F-8534ADD01312}">
          <p14:sldIdLst>
            <p14:sldId id="1603"/>
            <p14:sldId id="1604"/>
            <p14:sldId id="581"/>
            <p14:sldId id="583"/>
            <p14:sldId id="582"/>
            <p14:sldId id="604"/>
            <p14:sldId id="1605"/>
            <p14:sldId id="1606"/>
            <p14:sldId id="593"/>
            <p14:sldId id="584"/>
            <p14:sldId id="1607"/>
            <p14:sldId id="1608"/>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1080D7"/>
    <a:srgbClr val="CFC0E8"/>
    <a:srgbClr val="91ABD5"/>
    <a:srgbClr val="CFE5F7"/>
    <a:srgbClr val="3091DC"/>
    <a:srgbClr val="666666"/>
    <a:srgbClr val="00569B"/>
    <a:srgbClr val="D1D3D6"/>
    <a:srgbClr val="0078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D54E99-673C-43B2-A218-475B4FDEDCC6}" v="186" dt="2020-05-22T08:36:41.2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26" autoAdjust="0"/>
    <p:restoredTop sz="95220" autoAdjust="0"/>
  </p:normalViewPr>
  <p:slideViewPr>
    <p:cSldViewPr snapToGrid="0">
      <p:cViewPr varScale="1">
        <p:scale>
          <a:sx n="69" d="100"/>
          <a:sy n="69" d="100"/>
        </p:scale>
        <p:origin x="500"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theme" Target="theme/theme1.xml"/><Relationship Id="rId16" Type="http://schemas.openxmlformats.org/officeDocument/2006/relationships/slideMaster" Target="slideMasters/slideMaster1.xml"/><Relationship Id="rId11" Type="http://schemas.openxmlformats.org/officeDocument/2006/relationships/customXml" Target="../customXml/item11.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handoutMaster" Target="handoutMasters/handoutMaster1.xml"/><Relationship Id="rId5" Type="http://schemas.openxmlformats.org/officeDocument/2006/relationships/customXml" Target="../customXml/item5.xml"/><Relationship Id="rId19" Type="http://schemas.openxmlformats.org/officeDocument/2006/relationships/slide" Target="slides/slide1.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slide" Target="slides/slide59.xml"/><Relationship Id="rId8" Type="http://schemas.openxmlformats.org/officeDocument/2006/relationships/customXml" Target="../customXml/item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customXml" Target="../customXml/item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notesMaster" Target="notesMasters/notesMaster1.xml"/><Relationship Id="rId81" Type="http://schemas.openxmlformats.org/officeDocument/2006/relationships/commentAuthors" Target="commentAuthors.xml"/><Relationship Id="rId86"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3.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7" Type="http://schemas.openxmlformats.org/officeDocument/2006/relationships/customXml" Target="../customXml/item7.xml"/><Relationship Id="rId71"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microsoft.com/office/2015/10/relationships/revisionInfo" Target="revisionInfo.xml"/><Relationship Id="rId61" Type="http://schemas.openxmlformats.org/officeDocument/2006/relationships/slide" Target="slides/slide43.xml"/><Relationship Id="rId8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B Taylor" userId="2ac94156-0040-455f-a13f-091fd330254d" providerId="ADAL" clId="{30E028F2-F2D4-489D-8E27-1FB81C11D2DE}"/>
    <pc:docChg chg="undo redo custSel mod addSld delSld modSld modMainMaster modSection">
      <pc:chgData name="boB Taylor" userId="2ac94156-0040-455f-a13f-091fd330254d" providerId="ADAL" clId="{30E028F2-F2D4-489D-8E27-1FB81C11D2DE}" dt="2020-03-17T19:48:32.357" v="1168" actId="20577"/>
      <pc:docMkLst>
        <pc:docMk/>
      </pc:docMkLst>
      <pc:sldChg chg="modSp">
        <pc:chgData name="boB Taylor" userId="2ac94156-0040-455f-a13f-091fd330254d" providerId="ADAL" clId="{30E028F2-F2D4-489D-8E27-1FB81C11D2DE}" dt="2020-03-17T14:12:49.229" v="176" actId="20577"/>
        <pc:sldMkLst>
          <pc:docMk/>
          <pc:sldMk cId="3424530645" sldId="579"/>
        </pc:sldMkLst>
        <pc:spChg chg="mod">
          <ac:chgData name="boB Taylor" userId="2ac94156-0040-455f-a13f-091fd330254d" providerId="ADAL" clId="{30E028F2-F2D4-489D-8E27-1FB81C11D2DE}" dt="2020-03-17T14:12:49.229" v="176" actId="20577"/>
          <ac:spMkLst>
            <pc:docMk/>
            <pc:sldMk cId="3424530645" sldId="579"/>
            <ac:spMk id="5" creationId="{55182462-DFDF-4D48-A92C-42FD52821C4E}"/>
          </ac:spMkLst>
        </pc:spChg>
      </pc:sldChg>
      <pc:sldChg chg="addSp delSp modSp mod modClrScheme chgLayout">
        <pc:chgData name="boB Taylor" userId="2ac94156-0040-455f-a13f-091fd330254d" providerId="ADAL" clId="{30E028F2-F2D4-489D-8E27-1FB81C11D2DE}" dt="2020-03-17T15:55:01.548" v="656"/>
        <pc:sldMkLst>
          <pc:docMk/>
          <pc:sldMk cId="2551646555" sldId="580"/>
        </pc:sldMkLst>
        <pc:spChg chg="mod">
          <ac:chgData name="boB Taylor" userId="2ac94156-0040-455f-a13f-091fd330254d" providerId="ADAL" clId="{30E028F2-F2D4-489D-8E27-1FB81C11D2DE}" dt="2020-03-17T15:54:45.007" v="653" actId="26606"/>
          <ac:spMkLst>
            <pc:docMk/>
            <pc:sldMk cId="2551646555" sldId="580"/>
            <ac:spMk id="2" creationId="{EB67312A-9819-43C6-8D84-D9136E6CFFCC}"/>
          </ac:spMkLst>
        </pc:spChg>
        <pc:spChg chg="add del">
          <ac:chgData name="boB Taylor" userId="2ac94156-0040-455f-a13f-091fd330254d" providerId="ADAL" clId="{30E028F2-F2D4-489D-8E27-1FB81C11D2DE}" dt="2020-03-17T15:54:45.007" v="653" actId="26606"/>
          <ac:spMkLst>
            <pc:docMk/>
            <pc:sldMk cId="2551646555" sldId="580"/>
            <ac:spMk id="3" creationId="{F35E8CBB-5A7D-4DEF-BAF7-8DD5D042F9E0}"/>
          </ac:spMkLst>
        </pc:spChg>
        <pc:spChg chg="add del mod">
          <ac:chgData name="boB Taylor" userId="2ac94156-0040-455f-a13f-091fd330254d" providerId="ADAL" clId="{30E028F2-F2D4-489D-8E27-1FB81C11D2DE}" dt="2020-03-17T15:54:45.007" v="653" actId="26606"/>
          <ac:spMkLst>
            <pc:docMk/>
            <pc:sldMk cId="2551646555" sldId="580"/>
            <ac:spMk id="4" creationId="{F3616A99-090F-45E1-9334-58D58B148205}"/>
          </ac:spMkLst>
        </pc:spChg>
        <pc:spChg chg="add del">
          <ac:chgData name="boB Taylor" userId="2ac94156-0040-455f-a13f-091fd330254d" providerId="ADAL" clId="{30E028F2-F2D4-489D-8E27-1FB81C11D2DE}" dt="2020-03-17T15:54:44.978" v="652" actId="26606"/>
          <ac:spMkLst>
            <pc:docMk/>
            <pc:sldMk cId="2551646555" sldId="580"/>
            <ac:spMk id="11" creationId="{66BD7A27-84B2-43CF-9917-648902C78139}"/>
          </ac:spMkLst>
        </pc:spChg>
        <pc:graphicFrameChg chg="add del">
          <ac:chgData name="boB Taylor" userId="2ac94156-0040-455f-a13f-091fd330254d" providerId="ADAL" clId="{30E028F2-F2D4-489D-8E27-1FB81C11D2DE}" dt="2020-03-17T15:54:44.978" v="652" actId="26606"/>
          <ac:graphicFrameMkLst>
            <pc:docMk/>
            <pc:sldMk cId="2551646555" sldId="580"/>
            <ac:graphicFrameMk id="6" creationId="{01EBBA6D-67D3-4128-B711-84E068717830}"/>
          </ac:graphicFrameMkLst>
        </pc:graphicFrameChg>
        <pc:graphicFrameChg chg="add mod">
          <ac:chgData name="boB Taylor" userId="2ac94156-0040-455f-a13f-091fd330254d" providerId="ADAL" clId="{30E028F2-F2D4-489D-8E27-1FB81C11D2DE}" dt="2020-03-17T15:55:01.548" v="656"/>
          <ac:graphicFrameMkLst>
            <pc:docMk/>
            <pc:sldMk cId="2551646555" sldId="580"/>
            <ac:graphicFrameMk id="13" creationId="{9EAD8C7B-06ED-4564-A856-55E63E551DB1}"/>
          </ac:graphicFrameMkLst>
        </pc:graphicFrameChg>
      </pc:sldChg>
      <pc:sldChg chg="modSp modNotesTx">
        <pc:chgData name="boB Taylor" userId="2ac94156-0040-455f-a13f-091fd330254d" providerId="ADAL" clId="{30E028F2-F2D4-489D-8E27-1FB81C11D2DE}" dt="2020-03-17T19:45:43.696" v="697" actId="20577"/>
        <pc:sldMkLst>
          <pc:docMk/>
          <pc:sldMk cId="3006523152" sldId="581"/>
        </pc:sldMkLst>
        <pc:spChg chg="mod">
          <ac:chgData name="boB Taylor" userId="2ac94156-0040-455f-a13f-091fd330254d" providerId="ADAL" clId="{30E028F2-F2D4-489D-8E27-1FB81C11D2DE}" dt="2020-03-17T15:55:28.997" v="678" actId="20577"/>
          <ac:spMkLst>
            <pc:docMk/>
            <pc:sldMk cId="3006523152" sldId="581"/>
            <ac:spMk id="6" creationId="{637E159C-9ACF-48AE-927A-D5FB13695C7F}"/>
          </ac:spMkLst>
        </pc:spChg>
      </pc:sldChg>
      <pc:sldChg chg="del">
        <pc:chgData name="boB Taylor" userId="2ac94156-0040-455f-a13f-091fd330254d" providerId="ADAL" clId="{30E028F2-F2D4-489D-8E27-1FB81C11D2DE}" dt="2020-03-17T15:55:34.978" v="679" actId="47"/>
        <pc:sldMkLst>
          <pc:docMk/>
          <pc:sldMk cId="1528516655" sldId="582"/>
        </pc:sldMkLst>
      </pc:sldChg>
      <pc:sldChg chg="modSp modNotesTx">
        <pc:chgData name="boB Taylor" userId="2ac94156-0040-455f-a13f-091fd330254d" providerId="ADAL" clId="{30E028F2-F2D4-489D-8E27-1FB81C11D2DE}" dt="2020-03-17T19:48:32.357" v="1168" actId="20577"/>
        <pc:sldMkLst>
          <pc:docMk/>
          <pc:sldMk cId="2444463328" sldId="584"/>
        </pc:sldMkLst>
        <pc:graphicFrameChg chg="mod">
          <ac:chgData name="boB Taylor" userId="2ac94156-0040-455f-a13f-091fd330254d" providerId="ADAL" clId="{30E028F2-F2D4-489D-8E27-1FB81C11D2DE}" dt="2020-03-17T19:48:05.342" v="1058" actId="20577"/>
          <ac:graphicFrameMkLst>
            <pc:docMk/>
            <pc:sldMk cId="2444463328" sldId="584"/>
            <ac:graphicFrameMk id="3" creationId="{9484E1FE-7534-495E-863C-657A46F5E628}"/>
          </ac:graphicFrameMkLst>
        </pc:graphicFrameChg>
      </pc:sldChg>
      <pc:sldChg chg="addSp delSp modSp del modTransition">
        <pc:chgData name="boB Taylor" userId="2ac94156-0040-455f-a13f-091fd330254d" providerId="ADAL" clId="{30E028F2-F2D4-489D-8E27-1FB81C11D2DE}" dt="2020-03-17T19:45:05.556" v="680" actId="2696"/>
        <pc:sldMkLst>
          <pc:docMk/>
          <pc:sldMk cId="2256472167" sldId="602"/>
        </pc:sldMkLst>
        <pc:spChg chg="add del mod">
          <ac:chgData name="boB Taylor" userId="2ac94156-0040-455f-a13f-091fd330254d" providerId="ADAL" clId="{30E028F2-F2D4-489D-8E27-1FB81C11D2DE}" dt="2020-03-17T15:15:09.706" v="644" actId="478"/>
          <ac:spMkLst>
            <pc:docMk/>
            <pc:sldMk cId="2256472167" sldId="602"/>
            <ac:spMk id="4" creationId="{F3616A99-090F-45E1-9334-58D58B148205}"/>
          </ac:spMkLst>
        </pc:spChg>
        <pc:spChg chg="mod">
          <ac:chgData name="boB Taylor" userId="2ac94156-0040-455f-a13f-091fd330254d" providerId="ADAL" clId="{30E028F2-F2D4-489D-8E27-1FB81C11D2DE}" dt="2020-03-17T15:15:24.095" v="646" actId="14100"/>
          <ac:spMkLst>
            <pc:docMk/>
            <pc:sldMk cId="2256472167" sldId="602"/>
            <ac:spMk id="6" creationId="{5BEE3541-3FB8-4584-8442-720F972358C6}"/>
          </ac:spMkLst>
        </pc:spChg>
        <pc:spChg chg="add del mod">
          <ac:chgData name="boB Taylor" userId="2ac94156-0040-455f-a13f-091fd330254d" providerId="ADAL" clId="{30E028F2-F2D4-489D-8E27-1FB81C11D2DE}" dt="2020-03-17T15:15:09.706" v="644" actId="478"/>
          <ac:spMkLst>
            <pc:docMk/>
            <pc:sldMk cId="2256472167" sldId="602"/>
            <ac:spMk id="7" creationId="{EEE25936-3BEB-4AA4-8200-F426EDFFDCFF}"/>
          </ac:spMkLst>
        </pc:spChg>
      </pc:sldChg>
      <pc:sldChg chg="modSp setBg">
        <pc:chgData name="boB Taylor" userId="2ac94156-0040-455f-a13f-091fd330254d" providerId="ADAL" clId="{30E028F2-F2D4-489D-8E27-1FB81C11D2DE}" dt="2020-03-17T15:05:45.231" v="504" actId="20577"/>
        <pc:sldMkLst>
          <pc:docMk/>
          <pc:sldMk cId="1667766974" sldId="1397"/>
        </pc:sldMkLst>
        <pc:spChg chg="mod">
          <ac:chgData name="boB Taylor" userId="2ac94156-0040-455f-a13f-091fd330254d" providerId="ADAL" clId="{30E028F2-F2D4-489D-8E27-1FB81C11D2DE}" dt="2020-03-17T14:15:09.969" v="206" actId="20577"/>
          <ac:spMkLst>
            <pc:docMk/>
            <pc:sldMk cId="1667766974" sldId="1397"/>
            <ac:spMk id="2" creationId="{00000000-0000-0000-0000-000000000000}"/>
          </ac:spMkLst>
        </pc:spChg>
        <pc:spChg chg="mod">
          <ac:chgData name="boB Taylor" userId="2ac94156-0040-455f-a13f-091fd330254d" providerId="ADAL" clId="{30E028F2-F2D4-489D-8E27-1FB81C11D2DE}" dt="2020-03-17T14:18:18.728" v="223" actId="207"/>
          <ac:spMkLst>
            <pc:docMk/>
            <pc:sldMk cId="1667766974" sldId="1397"/>
            <ac:spMk id="6" creationId="{00000000-0000-0000-0000-000000000000}"/>
          </ac:spMkLst>
        </pc:spChg>
        <pc:spChg chg="mod">
          <ac:chgData name="boB Taylor" userId="2ac94156-0040-455f-a13f-091fd330254d" providerId="ADAL" clId="{30E028F2-F2D4-489D-8E27-1FB81C11D2DE}" dt="2020-03-17T15:05:45.231" v="504" actId="20577"/>
          <ac:spMkLst>
            <pc:docMk/>
            <pc:sldMk cId="1667766974" sldId="1397"/>
            <ac:spMk id="15" creationId="{00000000-0000-0000-0000-000000000000}"/>
          </ac:spMkLst>
        </pc:spChg>
      </pc:sldChg>
      <pc:sldChg chg="modSp del setBg">
        <pc:chgData name="boB Taylor" userId="2ac94156-0040-455f-a13f-091fd330254d" providerId="ADAL" clId="{30E028F2-F2D4-489D-8E27-1FB81C11D2DE}" dt="2020-03-17T14:26:18.883" v="254" actId="14100"/>
        <pc:sldMkLst>
          <pc:docMk/>
          <pc:sldMk cId="3087139904" sldId="1402"/>
        </pc:sldMkLst>
        <pc:spChg chg="mod">
          <ac:chgData name="boB Taylor" userId="2ac94156-0040-455f-a13f-091fd330254d" providerId="ADAL" clId="{30E028F2-F2D4-489D-8E27-1FB81C11D2DE}" dt="2020-03-17T14:26:18.883" v="254" actId="14100"/>
          <ac:spMkLst>
            <pc:docMk/>
            <pc:sldMk cId="3087139904" sldId="1402"/>
            <ac:spMk id="30" creationId="{00000000-0000-0000-0000-000000000000}"/>
          </ac:spMkLst>
        </pc:spChg>
        <pc:spChg chg="mod">
          <ac:chgData name="boB Taylor" userId="2ac94156-0040-455f-a13f-091fd330254d" providerId="ADAL" clId="{30E028F2-F2D4-489D-8E27-1FB81C11D2DE}" dt="2020-03-17T14:18:33.783" v="224" actId="207"/>
          <ac:spMkLst>
            <pc:docMk/>
            <pc:sldMk cId="3087139904" sldId="1402"/>
            <ac:spMk id="31" creationId="{00000000-0000-0000-0000-000000000000}"/>
          </ac:spMkLst>
        </pc:spChg>
      </pc:sldChg>
      <pc:sldChg chg="modSp setBg">
        <pc:chgData name="boB Taylor" userId="2ac94156-0040-455f-a13f-091fd330254d" providerId="ADAL" clId="{30E028F2-F2D4-489D-8E27-1FB81C11D2DE}" dt="2020-03-17T15:03:53.107" v="454" actId="1076"/>
        <pc:sldMkLst>
          <pc:docMk/>
          <pc:sldMk cId="1483710239" sldId="1403"/>
        </pc:sldMkLst>
        <pc:spChg chg="mod">
          <ac:chgData name="boB Taylor" userId="2ac94156-0040-455f-a13f-091fd330254d" providerId="ADAL" clId="{30E028F2-F2D4-489D-8E27-1FB81C11D2DE}" dt="2020-03-17T14:22:57.403" v="244" actId="1076"/>
          <ac:spMkLst>
            <pc:docMk/>
            <pc:sldMk cId="1483710239" sldId="1403"/>
            <ac:spMk id="2" creationId="{00000000-0000-0000-0000-000000000000}"/>
          </ac:spMkLst>
        </pc:spChg>
        <pc:spChg chg="mod">
          <ac:chgData name="boB Taylor" userId="2ac94156-0040-455f-a13f-091fd330254d" providerId="ADAL" clId="{30E028F2-F2D4-489D-8E27-1FB81C11D2DE}" dt="2020-03-17T15:03:53.107" v="454" actId="1076"/>
          <ac:spMkLst>
            <pc:docMk/>
            <pc:sldMk cId="1483710239" sldId="1403"/>
            <ac:spMk id="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1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48"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49"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0" creationId="{00000000-0000-0000-0000-000000000000}"/>
          </ac:spMkLst>
        </pc:spChg>
        <pc:spChg chg="mod">
          <ac:chgData name="boB Taylor" userId="2ac94156-0040-455f-a13f-091fd330254d" providerId="ADAL" clId="{30E028F2-F2D4-489D-8E27-1FB81C11D2DE}" dt="2020-03-17T14:21:40.678" v="234" actId="207"/>
          <ac:spMkLst>
            <pc:docMk/>
            <pc:sldMk cId="1483710239" sldId="1403"/>
            <ac:spMk id="5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2"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6"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7"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58" creationId="{00000000-0000-0000-0000-000000000000}"/>
          </ac:spMkLst>
        </pc:spChg>
        <pc:spChg chg="mod">
          <ac:chgData name="boB Taylor" userId="2ac94156-0040-455f-a13f-091fd330254d" providerId="ADAL" clId="{30E028F2-F2D4-489D-8E27-1FB81C11D2DE}" dt="2020-03-17T14:21:46.935" v="235" actId="207"/>
          <ac:spMkLst>
            <pc:docMk/>
            <pc:sldMk cId="1483710239" sldId="1403"/>
            <ac:spMk id="59"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0"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2"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4"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5"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6" creationId="{00000000-0000-0000-0000-000000000000}"/>
          </ac:spMkLst>
        </pc:spChg>
        <pc:spChg chg="mod">
          <ac:chgData name="boB Taylor" userId="2ac94156-0040-455f-a13f-091fd330254d" providerId="ADAL" clId="{30E028F2-F2D4-489D-8E27-1FB81C11D2DE}" dt="2020-03-17T14:21:50.437" v="236" actId="207"/>
          <ac:spMkLst>
            <pc:docMk/>
            <pc:sldMk cId="1483710239" sldId="1403"/>
            <ac:spMk id="67"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8"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69"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0"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2"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4" creationId="{00000000-0000-0000-0000-000000000000}"/>
          </ac:spMkLst>
        </pc:spChg>
        <pc:spChg chg="mod">
          <ac:chgData name="boB Taylor" userId="2ac94156-0040-455f-a13f-091fd330254d" providerId="ADAL" clId="{30E028F2-F2D4-489D-8E27-1FB81C11D2DE}" dt="2020-03-17T14:21:54.342" v="237" actId="207"/>
          <ac:spMkLst>
            <pc:docMk/>
            <pc:sldMk cId="1483710239" sldId="1403"/>
            <ac:spMk id="75"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6"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7"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78"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0"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2" creationId="{00000000-0000-0000-0000-000000000000}"/>
          </ac:spMkLst>
        </pc:spChg>
        <pc:spChg chg="mod">
          <ac:chgData name="boB Taylor" userId="2ac94156-0040-455f-a13f-091fd330254d" providerId="ADAL" clId="{30E028F2-F2D4-489D-8E27-1FB81C11D2DE}" dt="2020-03-17T14:21:58.437" v="238" actId="207"/>
          <ac:spMkLst>
            <pc:docMk/>
            <pc:sldMk cId="1483710239" sldId="1403"/>
            <ac:spMk id="8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4"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5"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6"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8"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89"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90" creationId="{00000000-0000-0000-0000-000000000000}"/>
          </ac:spMkLst>
        </pc:spChg>
        <pc:spChg chg="mod">
          <ac:chgData name="boB Taylor" userId="2ac94156-0040-455f-a13f-091fd330254d" providerId="ADAL" clId="{30E028F2-F2D4-489D-8E27-1FB81C11D2DE}" dt="2020-03-17T14:22:08.066" v="239" actId="207"/>
          <ac:spMkLst>
            <pc:docMk/>
            <pc:sldMk cId="1483710239" sldId="1403"/>
            <ac:spMk id="91"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92"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93" creationId="{00000000-0000-0000-0000-000000000000}"/>
          </ac:spMkLst>
        </pc:spChg>
        <pc:spChg chg="mod">
          <ac:chgData name="boB Taylor" userId="2ac94156-0040-455f-a13f-091fd330254d" providerId="ADAL" clId="{30E028F2-F2D4-489D-8E27-1FB81C11D2DE}" dt="2020-03-17T14:21:05.584" v="232" actId="692"/>
          <ac:spMkLst>
            <pc:docMk/>
            <pc:sldMk cId="1483710239" sldId="1403"/>
            <ac:spMk id="94" creationId="{00000000-0000-0000-0000-000000000000}"/>
          </ac:spMkLst>
        </pc:spChg>
        <pc:grpChg chg="mod">
          <ac:chgData name="boB Taylor" userId="2ac94156-0040-455f-a13f-091fd330254d" providerId="ADAL" clId="{30E028F2-F2D4-489D-8E27-1FB81C11D2DE}" dt="2020-03-17T14:21:09.724" v="233" actId="207"/>
          <ac:grpSpMkLst>
            <pc:docMk/>
            <pc:sldMk cId="1483710239" sldId="1403"/>
            <ac:grpSpMk id="4"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55"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63"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71"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79" creationId="{00000000-0000-0000-0000-000000000000}"/>
          </ac:grpSpMkLst>
        </pc:grpChg>
        <pc:grpChg chg="mod">
          <ac:chgData name="boB Taylor" userId="2ac94156-0040-455f-a13f-091fd330254d" providerId="ADAL" clId="{30E028F2-F2D4-489D-8E27-1FB81C11D2DE}" dt="2020-03-17T14:21:09.724" v="233" actId="207"/>
          <ac:grpSpMkLst>
            <pc:docMk/>
            <pc:sldMk cId="1483710239" sldId="1403"/>
            <ac:grpSpMk id="87" creationId="{00000000-0000-0000-0000-000000000000}"/>
          </ac:grpSpMkLst>
        </pc:grpChg>
      </pc:sldChg>
      <pc:sldChg chg="addSp delSp modSp">
        <pc:chgData name="boB Taylor" userId="2ac94156-0040-455f-a13f-091fd330254d" providerId="ADAL" clId="{30E028F2-F2D4-489D-8E27-1FB81C11D2DE}" dt="2020-03-17T14:33:04.911" v="310" actId="207"/>
        <pc:sldMkLst>
          <pc:docMk/>
          <pc:sldMk cId="235990786" sldId="1420"/>
        </pc:sldMkLst>
        <pc:spChg chg="mod">
          <ac:chgData name="boB Taylor" userId="2ac94156-0040-455f-a13f-091fd330254d" providerId="ADAL" clId="{30E028F2-F2D4-489D-8E27-1FB81C11D2DE}" dt="2020-03-17T14:27:51.035" v="261" actId="1076"/>
          <ac:spMkLst>
            <pc:docMk/>
            <pc:sldMk cId="235990786" sldId="1420"/>
            <ac:spMk id="2" creationId="{00000000-0000-0000-0000-000000000000}"/>
          </ac:spMkLst>
        </pc:spChg>
        <pc:spChg chg="mod">
          <ac:chgData name="boB Taylor" userId="2ac94156-0040-455f-a13f-091fd330254d" providerId="ADAL" clId="{30E028F2-F2D4-489D-8E27-1FB81C11D2DE}" dt="2020-03-17T14:29:03.915" v="270" actId="1076"/>
          <ac:spMkLst>
            <pc:docMk/>
            <pc:sldMk cId="235990786" sldId="1420"/>
            <ac:spMk id="3"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11"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48" creationId="{00000000-0000-0000-0000-000000000000}"/>
          </ac:spMkLst>
        </pc:spChg>
        <pc:spChg chg="mod">
          <ac:chgData name="boB Taylor" userId="2ac94156-0040-455f-a13f-091fd330254d" providerId="ADAL" clId="{30E028F2-F2D4-489D-8E27-1FB81C11D2DE}" dt="2020-03-17T14:32:43.110" v="305" actId="207"/>
          <ac:spMkLst>
            <pc:docMk/>
            <pc:sldMk cId="235990786" sldId="1420"/>
            <ac:spMk id="49" creationId="{00000000-0000-0000-0000-000000000000}"/>
          </ac:spMkLst>
        </pc:spChg>
        <pc:spChg chg="mod">
          <ac:chgData name="boB Taylor" userId="2ac94156-0040-455f-a13f-091fd330254d" providerId="ADAL" clId="{30E028F2-F2D4-489D-8E27-1FB81C11D2DE}" dt="2020-03-17T14:32:47.729" v="306" actId="207"/>
          <ac:spMkLst>
            <pc:docMk/>
            <pc:sldMk cId="235990786" sldId="1420"/>
            <ac:spMk id="50"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51"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52" creationId="{00000000-0000-0000-0000-000000000000}"/>
          </ac:spMkLst>
        </pc:spChg>
        <pc:spChg chg="mod">
          <ac:chgData name="boB Taylor" userId="2ac94156-0040-455f-a13f-091fd330254d" providerId="ADAL" clId="{30E028F2-F2D4-489D-8E27-1FB81C11D2DE}" dt="2020-03-17T14:31:37.570" v="296" actId="692"/>
          <ac:spMkLst>
            <pc:docMk/>
            <pc:sldMk cId="235990786" sldId="1420"/>
            <ac:spMk id="53"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56" creationId="{00000000-0000-0000-0000-000000000000}"/>
          </ac:spMkLst>
        </pc:spChg>
        <pc:spChg chg="mod">
          <ac:chgData name="boB Taylor" userId="2ac94156-0040-455f-a13f-091fd330254d" providerId="ADAL" clId="{30E028F2-F2D4-489D-8E27-1FB81C11D2DE}" dt="2020-03-17T14:32:38.677" v="304" actId="207"/>
          <ac:spMkLst>
            <pc:docMk/>
            <pc:sldMk cId="235990786" sldId="1420"/>
            <ac:spMk id="57" creationId="{00000000-0000-0000-0000-000000000000}"/>
          </ac:spMkLst>
        </pc:spChg>
        <pc:spChg chg="mod">
          <ac:chgData name="boB Taylor" userId="2ac94156-0040-455f-a13f-091fd330254d" providerId="ADAL" clId="{30E028F2-F2D4-489D-8E27-1FB81C11D2DE}" dt="2020-03-17T14:32:51.963" v="307" actId="207"/>
          <ac:spMkLst>
            <pc:docMk/>
            <pc:sldMk cId="235990786" sldId="1420"/>
            <ac:spMk id="58"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59"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60"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61" creationId="{00000000-0000-0000-0000-000000000000}"/>
          </ac:spMkLst>
        </pc:spChg>
        <pc:spChg chg="mod">
          <ac:chgData name="boB Taylor" userId="2ac94156-0040-455f-a13f-091fd330254d" providerId="ADAL" clId="{30E028F2-F2D4-489D-8E27-1FB81C11D2DE}" dt="2020-03-17T14:31:44.234" v="297" actId="692"/>
          <ac:spMkLst>
            <pc:docMk/>
            <pc:sldMk cId="235990786" sldId="1420"/>
            <ac:spMk id="62"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64" creationId="{00000000-0000-0000-0000-000000000000}"/>
          </ac:spMkLst>
        </pc:spChg>
        <pc:spChg chg="mod">
          <ac:chgData name="boB Taylor" userId="2ac94156-0040-455f-a13f-091fd330254d" providerId="ADAL" clId="{30E028F2-F2D4-489D-8E27-1FB81C11D2DE}" dt="2020-03-17T14:32:34.018" v="303" actId="207"/>
          <ac:spMkLst>
            <pc:docMk/>
            <pc:sldMk cId="235990786" sldId="1420"/>
            <ac:spMk id="65" creationId="{00000000-0000-0000-0000-000000000000}"/>
          </ac:spMkLst>
        </pc:spChg>
        <pc:spChg chg="mod">
          <ac:chgData name="boB Taylor" userId="2ac94156-0040-455f-a13f-091fd330254d" providerId="ADAL" clId="{30E028F2-F2D4-489D-8E27-1FB81C11D2DE}" dt="2020-03-17T14:32:55.778" v="308" actId="207"/>
          <ac:spMkLst>
            <pc:docMk/>
            <pc:sldMk cId="235990786" sldId="1420"/>
            <ac:spMk id="66"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67"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68"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69" creationId="{00000000-0000-0000-0000-000000000000}"/>
          </ac:spMkLst>
        </pc:spChg>
        <pc:spChg chg="mod">
          <ac:chgData name="boB Taylor" userId="2ac94156-0040-455f-a13f-091fd330254d" providerId="ADAL" clId="{30E028F2-F2D4-489D-8E27-1FB81C11D2DE}" dt="2020-03-17T14:31:58.557" v="298" actId="692"/>
          <ac:spMkLst>
            <pc:docMk/>
            <pc:sldMk cId="235990786" sldId="1420"/>
            <ac:spMk id="70"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2" creationId="{00000000-0000-0000-0000-000000000000}"/>
          </ac:spMkLst>
        </pc:spChg>
        <pc:spChg chg="mod">
          <ac:chgData name="boB Taylor" userId="2ac94156-0040-455f-a13f-091fd330254d" providerId="ADAL" clId="{30E028F2-F2D4-489D-8E27-1FB81C11D2DE}" dt="2020-03-17T14:32:30.809" v="302" actId="207"/>
          <ac:spMkLst>
            <pc:docMk/>
            <pc:sldMk cId="235990786" sldId="1420"/>
            <ac:spMk id="73" creationId="{00000000-0000-0000-0000-000000000000}"/>
          </ac:spMkLst>
        </pc:spChg>
        <pc:spChg chg="mod">
          <ac:chgData name="boB Taylor" userId="2ac94156-0040-455f-a13f-091fd330254d" providerId="ADAL" clId="{30E028F2-F2D4-489D-8E27-1FB81C11D2DE}" dt="2020-03-17T14:33:00.811" v="309" actId="207"/>
          <ac:spMkLst>
            <pc:docMk/>
            <pc:sldMk cId="235990786" sldId="1420"/>
            <ac:spMk id="74"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5"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6"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7" creationId="{00000000-0000-0000-0000-000000000000}"/>
          </ac:spMkLst>
        </pc:spChg>
        <pc:spChg chg="mod">
          <ac:chgData name="boB Taylor" userId="2ac94156-0040-455f-a13f-091fd330254d" providerId="ADAL" clId="{30E028F2-F2D4-489D-8E27-1FB81C11D2DE}" dt="2020-03-17T14:32:07.054" v="299" actId="692"/>
          <ac:spMkLst>
            <pc:docMk/>
            <pc:sldMk cId="235990786" sldId="1420"/>
            <ac:spMk id="78"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0" creationId="{00000000-0000-0000-0000-000000000000}"/>
          </ac:spMkLst>
        </pc:spChg>
        <pc:spChg chg="mod">
          <ac:chgData name="boB Taylor" userId="2ac94156-0040-455f-a13f-091fd330254d" providerId="ADAL" clId="{30E028F2-F2D4-489D-8E27-1FB81C11D2DE}" dt="2020-03-17T14:32:27.089" v="301" actId="207"/>
          <ac:spMkLst>
            <pc:docMk/>
            <pc:sldMk cId="235990786" sldId="1420"/>
            <ac:spMk id="81" creationId="{00000000-0000-0000-0000-000000000000}"/>
          </ac:spMkLst>
        </pc:spChg>
        <pc:spChg chg="mod">
          <ac:chgData name="boB Taylor" userId="2ac94156-0040-455f-a13f-091fd330254d" providerId="ADAL" clId="{30E028F2-F2D4-489D-8E27-1FB81C11D2DE}" dt="2020-03-17T14:33:04.911" v="310" actId="207"/>
          <ac:spMkLst>
            <pc:docMk/>
            <pc:sldMk cId="235990786" sldId="1420"/>
            <ac:spMk id="82"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3"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4"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5" creationId="{00000000-0000-0000-0000-000000000000}"/>
          </ac:spMkLst>
        </pc:spChg>
        <pc:spChg chg="mod">
          <ac:chgData name="boB Taylor" userId="2ac94156-0040-455f-a13f-091fd330254d" providerId="ADAL" clId="{30E028F2-F2D4-489D-8E27-1FB81C11D2DE}" dt="2020-03-17T14:32:14.171" v="300" actId="692"/>
          <ac:spMkLst>
            <pc:docMk/>
            <pc:sldMk cId="235990786" sldId="1420"/>
            <ac:spMk id="86"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88"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89"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0"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1"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2"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3" creationId="{00000000-0000-0000-0000-000000000000}"/>
          </ac:spMkLst>
        </pc:spChg>
        <pc:spChg chg="mod">
          <ac:chgData name="boB Taylor" userId="2ac94156-0040-455f-a13f-091fd330254d" providerId="ADAL" clId="{30E028F2-F2D4-489D-8E27-1FB81C11D2DE}" dt="2020-03-17T14:31:28.571" v="295" actId="692"/>
          <ac:spMkLst>
            <pc:docMk/>
            <pc:sldMk cId="235990786" sldId="1420"/>
            <ac:spMk id="94" creationId="{00000000-0000-0000-0000-000000000000}"/>
          </ac:spMkLst>
        </pc:spChg>
        <pc:grpChg chg="add del mod">
          <ac:chgData name="boB Taylor" userId="2ac94156-0040-455f-a13f-091fd330254d" providerId="ADAL" clId="{30E028F2-F2D4-489D-8E27-1FB81C11D2DE}" dt="2020-03-17T14:31:23.225" v="293"/>
          <ac:grpSpMkLst>
            <pc:docMk/>
            <pc:sldMk cId="235990786" sldId="1420"/>
            <ac:grpSpMk id="98" creationId="{1324376D-A05C-4915-83C5-F623D17284F7}"/>
          </ac:grpSpMkLst>
        </pc:grpChg>
      </pc:sldChg>
      <pc:sldChg chg="modSp setBg">
        <pc:chgData name="boB Taylor" userId="2ac94156-0040-455f-a13f-091fd330254d" providerId="ADAL" clId="{30E028F2-F2D4-489D-8E27-1FB81C11D2DE}" dt="2020-03-17T14:34:59.548" v="316" actId="1076"/>
        <pc:sldMkLst>
          <pc:docMk/>
          <pc:sldMk cId="996256290" sldId="1421"/>
        </pc:sldMkLst>
        <pc:spChg chg="mod">
          <ac:chgData name="boB Taylor" userId="2ac94156-0040-455f-a13f-091fd330254d" providerId="ADAL" clId="{30E028F2-F2D4-489D-8E27-1FB81C11D2DE}" dt="2020-03-17T14:34:59.548" v="316" actId="1076"/>
          <ac:spMkLst>
            <pc:docMk/>
            <pc:sldMk cId="996256290" sldId="1421"/>
            <ac:spMk id="2" creationId="{00000000-0000-0000-0000-000000000000}"/>
          </ac:spMkLst>
        </pc:spChg>
      </pc:sldChg>
      <pc:sldChg chg="modSp setBg">
        <pc:chgData name="boB Taylor" userId="2ac94156-0040-455f-a13f-091fd330254d" providerId="ADAL" clId="{30E028F2-F2D4-489D-8E27-1FB81C11D2DE}" dt="2020-03-17T14:36:57.957" v="326" actId="1076"/>
        <pc:sldMkLst>
          <pc:docMk/>
          <pc:sldMk cId="2843153520" sldId="1422"/>
        </pc:sldMkLst>
        <pc:spChg chg="mod">
          <ac:chgData name="boB Taylor" userId="2ac94156-0040-455f-a13f-091fd330254d" providerId="ADAL" clId="{30E028F2-F2D4-489D-8E27-1FB81C11D2DE}" dt="2020-03-17T14:36:57.957" v="326" actId="1076"/>
          <ac:spMkLst>
            <pc:docMk/>
            <pc:sldMk cId="2843153520" sldId="1422"/>
            <ac:spMk id="2" creationId="{00000000-0000-0000-0000-000000000000}"/>
          </ac:spMkLst>
        </pc:spChg>
      </pc:sldChg>
      <pc:sldChg chg="modSp setBg">
        <pc:chgData name="boB Taylor" userId="2ac94156-0040-455f-a13f-091fd330254d" providerId="ADAL" clId="{30E028F2-F2D4-489D-8E27-1FB81C11D2DE}" dt="2020-03-17T14:37:17.656" v="328" actId="1076"/>
        <pc:sldMkLst>
          <pc:docMk/>
          <pc:sldMk cId="4231764735" sldId="1423"/>
        </pc:sldMkLst>
        <pc:spChg chg="mod">
          <ac:chgData name="boB Taylor" userId="2ac94156-0040-455f-a13f-091fd330254d" providerId="ADAL" clId="{30E028F2-F2D4-489D-8E27-1FB81C11D2DE}" dt="2020-03-17T14:37:17.656" v="328" actId="1076"/>
          <ac:spMkLst>
            <pc:docMk/>
            <pc:sldMk cId="4231764735" sldId="1423"/>
            <ac:spMk id="2" creationId="{00000000-0000-0000-0000-000000000000}"/>
          </ac:spMkLst>
        </pc:spChg>
      </pc:sldChg>
      <pc:sldChg chg="modSp setBg">
        <pc:chgData name="boB Taylor" userId="2ac94156-0040-455f-a13f-091fd330254d" providerId="ADAL" clId="{30E028F2-F2D4-489D-8E27-1FB81C11D2DE}" dt="2020-03-17T14:37:41.020" v="332" actId="20577"/>
        <pc:sldMkLst>
          <pc:docMk/>
          <pc:sldMk cId="4030353435" sldId="1424"/>
        </pc:sldMkLst>
        <pc:spChg chg="mod">
          <ac:chgData name="boB Taylor" userId="2ac94156-0040-455f-a13f-091fd330254d" providerId="ADAL" clId="{30E028F2-F2D4-489D-8E27-1FB81C11D2DE}" dt="2020-03-17T14:37:41.020" v="332" actId="20577"/>
          <ac:spMkLst>
            <pc:docMk/>
            <pc:sldMk cId="4030353435" sldId="1424"/>
            <ac:spMk id="2" creationId="{00000000-0000-0000-0000-000000000000}"/>
          </ac:spMkLst>
        </pc:spChg>
      </pc:sldChg>
      <pc:sldChg chg="delSp">
        <pc:chgData name="boB Taylor" userId="2ac94156-0040-455f-a13f-091fd330254d" providerId="ADAL" clId="{30E028F2-F2D4-489D-8E27-1FB81C11D2DE}" dt="2020-03-17T14:56:30.818" v="419" actId="478"/>
        <pc:sldMkLst>
          <pc:docMk/>
          <pc:sldMk cId="1726345108" sldId="1438"/>
        </pc:sldMkLst>
        <pc:spChg chg="del">
          <ac:chgData name="boB Taylor" userId="2ac94156-0040-455f-a13f-091fd330254d" providerId="ADAL" clId="{30E028F2-F2D4-489D-8E27-1FB81C11D2DE}" dt="2020-03-17T14:56:30.818" v="419" actId="478"/>
          <ac:spMkLst>
            <pc:docMk/>
            <pc:sldMk cId="1726345108" sldId="1438"/>
            <ac:spMk id="9" creationId="{00000000-0000-0000-0000-000000000000}"/>
          </ac:spMkLst>
        </pc:spChg>
      </pc:sldChg>
      <pc:sldChg chg="delSp modSp">
        <pc:chgData name="boB Taylor" userId="2ac94156-0040-455f-a13f-091fd330254d" providerId="ADAL" clId="{30E028F2-F2D4-489D-8E27-1FB81C11D2DE}" dt="2020-03-17T15:01:46.506" v="444" actId="166"/>
        <pc:sldMkLst>
          <pc:docMk/>
          <pc:sldMk cId="1479834307" sldId="1439"/>
        </pc:sldMkLst>
        <pc:spChg chg="del">
          <ac:chgData name="boB Taylor" userId="2ac94156-0040-455f-a13f-091fd330254d" providerId="ADAL" clId="{30E028F2-F2D4-489D-8E27-1FB81C11D2DE}" dt="2020-03-17T14:56:35.216" v="420" actId="478"/>
          <ac:spMkLst>
            <pc:docMk/>
            <pc:sldMk cId="1479834307" sldId="1439"/>
            <ac:spMk id="9" creationId="{00000000-0000-0000-0000-000000000000}"/>
          </ac:spMkLst>
        </pc:spChg>
        <pc:spChg chg="mod ord">
          <ac:chgData name="boB Taylor" userId="2ac94156-0040-455f-a13f-091fd330254d" providerId="ADAL" clId="{30E028F2-F2D4-489D-8E27-1FB81C11D2DE}" dt="2020-03-17T15:01:46.506" v="444" actId="166"/>
          <ac:spMkLst>
            <pc:docMk/>
            <pc:sldMk cId="1479834307" sldId="1439"/>
            <ac:spMk id="27" creationId="{00000000-0000-0000-0000-000000000000}"/>
          </ac:spMkLst>
        </pc:spChg>
      </pc:sldChg>
      <pc:sldChg chg="del">
        <pc:chgData name="boB Taylor" userId="2ac94156-0040-455f-a13f-091fd330254d" providerId="ADAL" clId="{30E028F2-F2D4-489D-8E27-1FB81C11D2DE}" dt="2020-03-17T15:02:13.193" v="445" actId="47"/>
        <pc:sldMkLst>
          <pc:docMk/>
          <pc:sldMk cId="3139057077" sldId="1440"/>
        </pc:sldMkLst>
      </pc:sldChg>
      <pc:sldChg chg="addSp delSp modSp modTransition">
        <pc:chgData name="boB Taylor" userId="2ac94156-0040-455f-a13f-091fd330254d" providerId="ADAL" clId="{30E028F2-F2D4-489D-8E27-1FB81C11D2DE}" dt="2020-03-17T14:39:12.908" v="340" actId="26606"/>
        <pc:sldMkLst>
          <pc:docMk/>
          <pc:sldMk cId="1674344459" sldId="1467"/>
        </pc:sldMkLst>
        <pc:spChg chg="mod">
          <ac:chgData name="boB Taylor" userId="2ac94156-0040-455f-a13f-091fd330254d" providerId="ADAL" clId="{30E028F2-F2D4-489D-8E27-1FB81C11D2DE}" dt="2020-03-17T14:39:12.908" v="340" actId="26606"/>
          <ac:spMkLst>
            <pc:docMk/>
            <pc:sldMk cId="1674344459" sldId="1467"/>
            <ac:spMk id="2" creationId="{00000000-0000-0000-0000-000000000000}"/>
          </ac:spMkLst>
        </pc:spChg>
        <pc:spChg chg="add del mod">
          <ac:chgData name="boB Taylor" userId="2ac94156-0040-455f-a13f-091fd330254d" providerId="ADAL" clId="{30E028F2-F2D4-489D-8E27-1FB81C11D2DE}" dt="2020-03-17T14:38:29.447" v="334"/>
          <ac:spMkLst>
            <pc:docMk/>
            <pc:sldMk cId="1674344459" sldId="1467"/>
            <ac:spMk id="3" creationId="{FCBC1F13-985A-47CB-8AFC-5FBC3B9CE79A}"/>
          </ac:spMkLst>
        </pc:spChg>
        <pc:spChg chg="add del mod">
          <ac:chgData name="boB Taylor" userId="2ac94156-0040-455f-a13f-091fd330254d" providerId="ADAL" clId="{30E028F2-F2D4-489D-8E27-1FB81C11D2DE}" dt="2020-03-17T14:38:29.447" v="334"/>
          <ac:spMkLst>
            <pc:docMk/>
            <pc:sldMk cId="1674344459" sldId="1467"/>
            <ac:spMk id="4" creationId="{391D2DC3-DD7A-4DC4-A316-0C8D9FC79C9A}"/>
          </ac:spMkLst>
        </pc:spChg>
        <pc:spChg chg="del">
          <ac:chgData name="boB Taylor" userId="2ac94156-0040-455f-a13f-091fd330254d" providerId="ADAL" clId="{30E028F2-F2D4-489D-8E27-1FB81C11D2DE}" dt="2020-03-17T14:39:12.908" v="340" actId="26606"/>
          <ac:spMkLst>
            <pc:docMk/>
            <pc:sldMk cId="1674344459" sldId="1467"/>
            <ac:spMk id="5" creationId="{00000000-0000-0000-0000-000000000000}"/>
          </ac:spMkLst>
        </pc:spChg>
        <pc:graphicFrameChg chg="add">
          <ac:chgData name="boB Taylor" userId="2ac94156-0040-455f-a13f-091fd330254d" providerId="ADAL" clId="{30E028F2-F2D4-489D-8E27-1FB81C11D2DE}" dt="2020-03-17T14:39:12.908" v="340" actId="26606"/>
          <ac:graphicFrameMkLst>
            <pc:docMk/>
            <pc:sldMk cId="1674344459" sldId="1467"/>
            <ac:graphicFrameMk id="7" creationId="{7CF0440A-AB0B-4B21-A641-603244ADB1B5}"/>
          </ac:graphicFrameMkLst>
        </pc:graphicFrameChg>
      </pc:sldChg>
      <pc:sldChg chg="addSp delSp modSp modTransition">
        <pc:chgData name="boB Taylor" userId="2ac94156-0040-455f-a13f-091fd330254d" providerId="ADAL" clId="{30E028F2-F2D4-489D-8E27-1FB81C11D2DE}" dt="2020-03-17T14:42:59.229" v="389" actId="6549"/>
        <pc:sldMkLst>
          <pc:docMk/>
          <pc:sldMk cId="3723203944" sldId="1468"/>
        </pc:sldMkLst>
        <pc:spChg chg="add del mod">
          <ac:chgData name="boB Taylor" userId="2ac94156-0040-455f-a13f-091fd330254d" providerId="ADAL" clId="{30E028F2-F2D4-489D-8E27-1FB81C11D2DE}" dt="2020-03-17T14:38:29.447" v="334"/>
          <ac:spMkLst>
            <pc:docMk/>
            <pc:sldMk cId="3723203944" sldId="1468"/>
            <ac:spMk id="2" creationId="{D56F0481-DA70-47C7-A887-1F4CCB5B6589}"/>
          </ac:spMkLst>
        </pc:spChg>
        <pc:spChg chg="add del mod">
          <ac:chgData name="boB Taylor" userId="2ac94156-0040-455f-a13f-091fd330254d" providerId="ADAL" clId="{30E028F2-F2D4-489D-8E27-1FB81C11D2DE}" dt="2020-03-17T14:38:29.447" v="334"/>
          <ac:spMkLst>
            <pc:docMk/>
            <pc:sldMk cId="3723203944" sldId="1468"/>
            <ac:spMk id="3" creationId="{FC81E55D-E2FD-429D-B324-D14EE8342D59}"/>
          </ac:spMkLst>
        </pc:spChg>
        <pc:spChg chg="add del mod">
          <ac:chgData name="boB Taylor" userId="2ac94156-0040-455f-a13f-091fd330254d" providerId="ADAL" clId="{30E028F2-F2D4-489D-8E27-1FB81C11D2DE}" dt="2020-03-17T14:38:29.447" v="334"/>
          <ac:spMkLst>
            <pc:docMk/>
            <pc:sldMk cId="3723203944" sldId="1468"/>
            <ac:spMk id="4" creationId="{21F04BD5-0FDC-409B-9A0C-21CD6BB9A63D}"/>
          </ac:spMkLst>
        </pc:spChg>
        <pc:spChg chg="add del mod">
          <ac:chgData name="boB Taylor" userId="2ac94156-0040-455f-a13f-091fd330254d" providerId="ADAL" clId="{30E028F2-F2D4-489D-8E27-1FB81C11D2DE}" dt="2020-03-17T14:38:29.447" v="334"/>
          <ac:spMkLst>
            <pc:docMk/>
            <pc:sldMk cId="3723203944" sldId="1468"/>
            <ac:spMk id="5" creationId="{B89C7F11-ED68-4BB4-A0CE-EE92513C5177}"/>
          </ac:spMkLst>
        </pc:spChg>
        <pc:spChg chg="add mod">
          <ac:chgData name="boB Taylor" userId="2ac94156-0040-455f-a13f-091fd330254d" providerId="ADAL" clId="{30E028F2-F2D4-489D-8E27-1FB81C11D2DE}" dt="2020-03-17T14:40:50.446" v="362" actId="14100"/>
          <ac:spMkLst>
            <pc:docMk/>
            <pc:sldMk cId="3723203944" sldId="1468"/>
            <ac:spMk id="6" creationId="{8FD9690B-4CC7-4BCC-8A6D-E5C2ABDCD174}"/>
          </ac:spMkLst>
        </pc:spChg>
        <pc:spChg chg="add del mod">
          <ac:chgData name="boB Taylor" userId="2ac94156-0040-455f-a13f-091fd330254d" providerId="ADAL" clId="{30E028F2-F2D4-489D-8E27-1FB81C11D2DE}" dt="2020-03-17T14:41:01.814" v="363" actId="478"/>
          <ac:spMkLst>
            <pc:docMk/>
            <pc:sldMk cId="3723203944" sldId="1468"/>
            <ac:spMk id="7" creationId="{B9888635-7AC2-458B-A6F9-FDF776715A98}"/>
          </ac:spMkLst>
        </pc:spChg>
        <pc:spChg chg="mod">
          <ac:chgData name="boB Taylor" userId="2ac94156-0040-455f-a13f-091fd330254d" providerId="ADAL" clId="{30E028F2-F2D4-489D-8E27-1FB81C11D2DE}" dt="2020-03-17T14:42:59.229" v="389" actId="6549"/>
          <ac:spMkLst>
            <pc:docMk/>
            <pc:sldMk cId="3723203944" sldId="1468"/>
            <ac:spMk id="76" creationId="{00000000-0000-0000-0000-000000000000}"/>
          </ac:spMkLst>
        </pc:spChg>
      </pc:sldChg>
      <pc:sldChg chg="addSp delSp modSp modTransition">
        <pc:chgData name="boB Taylor" userId="2ac94156-0040-455f-a13f-091fd330254d" providerId="ADAL" clId="{30E028F2-F2D4-489D-8E27-1FB81C11D2DE}" dt="2020-03-17T14:47:37.214" v="405" actId="207"/>
        <pc:sldMkLst>
          <pc:docMk/>
          <pc:sldMk cId="572847463" sldId="1469"/>
        </pc:sldMkLst>
        <pc:spChg chg="mod">
          <ac:chgData name="boB Taylor" userId="2ac94156-0040-455f-a13f-091fd330254d" providerId="ADAL" clId="{30E028F2-F2D4-489D-8E27-1FB81C11D2DE}" dt="2020-03-17T14:47:21.161" v="402" actId="207"/>
          <ac:spMkLst>
            <pc:docMk/>
            <pc:sldMk cId="572847463" sldId="1469"/>
            <ac:spMk id="2" creationId="{00000000-0000-0000-0000-000000000000}"/>
          </ac:spMkLst>
        </pc:spChg>
        <pc:spChg chg="add del mod">
          <ac:chgData name="boB Taylor" userId="2ac94156-0040-455f-a13f-091fd330254d" providerId="ADAL" clId="{30E028F2-F2D4-489D-8E27-1FB81C11D2DE}" dt="2020-03-17T14:38:29.447" v="334"/>
          <ac:spMkLst>
            <pc:docMk/>
            <pc:sldMk cId="572847463" sldId="1469"/>
            <ac:spMk id="3" creationId="{2B229D27-0A90-416D-A15E-B066471A1AED}"/>
          </ac:spMkLst>
        </pc:spChg>
        <pc:spChg chg="mod">
          <ac:chgData name="boB Taylor" userId="2ac94156-0040-455f-a13f-091fd330254d" providerId="ADAL" clId="{30E028F2-F2D4-489D-8E27-1FB81C11D2DE}" dt="2020-03-17T14:44:51.403" v="396" actId="255"/>
          <ac:spMkLst>
            <pc:docMk/>
            <pc:sldMk cId="572847463" sldId="1469"/>
            <ac:spMk id="30" creationId="{00000000-0000-0000-0000-000000000000}"/>
          </ac:spMkLst>
        </pc:spChg>
        <pc:spChg chg="mod">
          <ac:chgData name="boB Taylor" userId="2ac94156-0040-455f-a13f-091fd330254d" providerId="ADAL" clId="{30E028F2-F2D4-489D-8E27-1FB81C11D2DE}" dt="2020-03-17T14:47:30.748" v="404" actId="207"/>
          <ac:spMkLst>
            <pc:docMk/>
            <pc:sldMk cId="572847463" sldId="1469"/>
            <ac:spMk id="214" creationId="{00000000-0000-0000-0000-000000000000}"/>
          </ac:spMkLst>
        </pc:spChg>
        <pc:spChg chg="mod">
          <ac:chgData name="boB Taylor" userId="2ac94156-0040-455f-a13f-091fd330254d" providerId="ADAL" clId="{30E028F2-F2D4-489D-8E27-1FB81C11D2DE}" dt="2020-03-17T14:47:37.214" v="405" actId="207"/>
          <ac:spMkLst>
            <pc:docMk/>
            <pc:sldMk cId="572847463" sldId="1469"/>
            <ac:spMk id="215" creationId="{00000000-0000-0000-0000-000000000000}"/>
          </ac:spMkLst>
        </pc:spChg>
        <pc:spChg chg="add del mod">
          <ac:chgData name="boB Taylor" userId="2ac94156-0040-455f-a13f-091fd330254d" providerId="ADAL" clId="{30E028F2-F2D4-489D-8E27-1FB81C11D2DE}" dt="2020-03-17T14:38:29.447" v="334"/>
          <ac:spMkLst>
            <pc:docMk/>
            <pc:sldMk cId="572847463" sldId="1469"/>
            <ac:spMk id="216" creationId="{822B639E-AF52-4A43-8012-A28597F386A8}"/>
          </ac:spMkLst>
        </pc:spChg>
        <pc:spChg chg="add del mod">
          <ac:chgData name="boB Taylor" userId="2ac94156-0040-455f-a13f-091fd330254d" providerId="ADAL" clId="{30E028F2-F2D4-489D-8E27-1FB81C11D2DE}" dt="2020-03-17T14:38:29.447" v="334"/>
          <ac:spMkLst>
            <pc:docMk/>
            <pc:sldMk cId="572847463" sldId="1469"/>
            <ac:spMk id="217" creationId="{94FF3A82-B890-4E00-B9D9-0E6B45FB4551}"/>
          </ac:spMkLst>
        </pc:spChg>
        <pc:spChg chg="add del mod">
          <ac:chgData name="boB Taylor" userId="2ac94156-0040-455f-a13f-091fd330254d" providerId="ADAL" clId="{30E028F2-F2D4-489D-8E27-1FB81C11D2DE}" dt="2020-03-17T14:38:29.447" v="334"/>
          <ac:spMkLst>
            <pc:docMk/>
            <pc:sldMk cId="572847463" sldId="1469"/>
            <ac:spMk id="218" creationId="{8E77F96A-31AF-4DE6-A5DA-D8926CF86429}"/>
          </ac:spMkLst>
        </pc:spChg>
        <pc:spChg chg="add del mod">
          <ac:chgData name="boB Taylor" userId="2ac94156-0040-455f-a13f-091fd330254d" providerId="ADAL" clId="{30E028F2-F2D4-489D-8E27-1FB81C11D2DE}" dt="2020-03-17T14:43:34.675" v="391" actId="478"/>
          <ac:spMkLst>
            <pc:docMk/>
            <pc:sldMk cId="572847463" sldId="1469"/>
            <ac:spMk id="219" creationId="{91F0FDE1-D0C4-45A6-AB05-297F9EC3B7E6}"/>
          </ac:spMkLst>
        </pc:spChg>
        <pc:spChg chg="add del mod">
          <ac:chgData name="boB Taylor" userId="2ac94156-0040-455f-a13f-091fd330254d" providerId="ADAL" clId="{30E028F2-F2D4-489D-8E27-1FB81C11D2DE}" dt="2020-03-17T14:43:20.376" v="390" actId="478"/>
          <ac:spMkLst>
            <pc:docMk/>
            <pc:sldMk cId="572847463" sldId="1469"/>
            <ac:spMk id="220" creationId="{EDE4B76E-E42C-4C3C-B190-8E231B61399D}"/>
          </ac:spMkLst>
        </pc:spChg>
      </pc:sldChg>
      <pc:sldChg chg="addSp delSp modSp mod modClrScheme chgLayout">
        <pc:chgData name="boB Taylor" userId="2ac94156-0040-455f-a13f-091fd330254d" providerId="ADAL" clId="{30E028F2-F2D4-489D-8E27-1FB81C11D2DE}" dt="2020-03-17T14:46:28.487" v="400" actId="26606"/>
        <pc:sldMkLst>
          <pc:docMk/>
          <pc:sldMk cId="3837107871" sldId="1470"/>
        </pc:sldMkLst>
        <pc:spChg chg="del">
          <ac:chgData name="boB Taylor" userId="2ac94156-0040-455f-a13f-091fd330254d" providerId="ADAL" clId="{30E028F2-F2D4-489D-8E27-1FB81C11D2DE}" dt="2020-03-17T14:46:28.487" v="400" actId="26606"/>
          <ac:spMkLst>
            <pc:docMk/>
            <pc:sldMk cId="3837107871" sldId="1470"/>
            <ac:spMk id="4" creationId="{00000000-0000-0000-0000-000000000000}"/>
          </ac:spMkLst>
        </pc:spChg>
        <pc:spChg chg="mod">
          <ac:chgData name="boB Taylor" userId="2ac94156-0040-455f-a13f-091fd330254d" providerId="ADAL" clId="{30E028F2-F2D4-489D-8E27-1FB81C11D2DE}" dt="2020-03-17T14:46:28.487" v="400" actId="26606"/>
          <ac:spMkLst>
            <pc:docMk/>
            <pc:sldMk cId="3837107871" sldId="1470"/>
            <ac:spMk id="30" creationId="{00000000-0000-0000-0000-000000000000}"/>
          </ac:spMkLst>
        </pc:spChg>
        <pc:graphicFrameChg chg="add">
          <ac:chgData name="boB Taylor" userId="2ac94156-0040-455f-a13f-091fd330254d" providerId="ADAL" clId="{30E028F2-F2D4-489D-8E27-1FB81C11D2DE}" dt="2020-03-17T14:46:28.487" v="400" actId="26606"/>
          <ac:graphicFrameMkLst>
            <pc:docMk/>
            <pc:sldMk cId="3837107871" sldId="1470"/>
            <ac:graphicFrameMk id="32" creationId="{F51D10F5-C1EE-42D4-81CB-39B1964BEC29}"/>
          </ac:graphicFrameMkLst>
        </pc:graphicFrameChg>
      </pc:sldChg>
      <pc:sldChg chg="addSp delSp modSp mod modClrScheme chgLayout">
        <pc:chgData name="boB Taylor" userId="2ac94156-0040-455f-a13f-091fd330254d" providerId="ADAL" clId="{30E028F2-F2D4-489D-8E27-1FB81C11D2DE}" dt="2020-03-17T14:57:27.463" v="427" actId="26606"/>
        <pc:sldMkLst>
          <pc:docMk/>
          <pc:sldMk cId="3747374180" sldId="1473"/>
        </pc:sldMkLst>
        <pc:spChg chg="add del mod">
          <ac:chgData name="boB Taylor" userId="2ac94156-0040-455f-a13f-091fd330254d" providerId="ADAL" clId="{30E028F2-F2D4-489D-8E27-1FB81C11D2DE}" dt="2020-03-17T14:57:05.761" v="425" actId="26606"/>
          <ac:spMkLst>
            <pc:docMk/>
            <pc:sldMk cId="3747374180" sldId="1473"/>
            <ac:spMk id="3" creationId="{00000000-0000-0000-0000-000000000000}"/>
          </ac:spMkLst>
        </pc:spChg>
        <pc:spChg chg="del">
          <ac:chgData name="boB Taylor" userId="2ac94156-0040-455f-a13f-091fd330254d" providerId="ADAL" clId="{30E028F2-F2D4-489D-8E27-1FB81C11D2DE}" dt="2020-03-17T14:56:26.290" v="418" actId="478"/>
          <ac:spMkLst>
            <pc:docMk/>
            <pc:sldMk cId="3747374180" sldId="1473"/>
            <ac:spMk id="4" creationId="{00000000-0000-0000-0000-000000000000}"/>
          </ac:spMkLst>
        </pc:spChg>
        <pc:spChg chg="mod">
          <ac:chgData name="boB Taylor" userId="2ac94156-0040-455f-a13f-091fd330254d" providerId="ADAL" clId="{30E028F2-F2D4-489D-8E27-1FB81C11D2DE}" dt="2020-03-17T14:57:27.463" v="427" actId="26606"/>
          <ac:spMkLst>
            <pc:docMk/>
            <pc:sldMk cId="3747374180" sldId="1473"/>
            <ac:spMk id="5" creationId="{00000000-0000-0000-0000-000000000000}"/>
          </ac:spMkLst>
        </pc:spChg>
        <pc:spChg chg="add del mod">
          <ac:chgData name="boB Taylor" userId="2ac94156-0040-455f-a13f-091fd330254d" providerId="ADAL" clId="{30E028F2-F2D4-489D-8E27-1FB81C11D2DE}" dt="2020-03-17T14:57:27.463" v="427" actId="26606"/>
          <ac:spMkLst>
            <pc:docMk/>
            <pc:sldMk cId="3747374180" sldId="1473"/>
            <ac:spMk id="11" creationId="{00000000-0000-0000-0000-000000000000}"/>
          </ac:spMkLst>
        </pc:spChg>
        <pc:graphicFrameChg chg="add del mod">
          <ac:chgData name="boB Taylor" userId="2ac94156-0040-455f-a13f-091fd330254d" providerId="ADAL" clId="{30E028F2-F2D4-489D-8E27-1FB81C11D2DE}" dt="2020-03-17T14:56:59.317" v="422" actId="26606"/>
          <ac:graphicFrameMkLst>
            <pc:docMk/>
            <pc:sldMk cId="3747374180" sldId="1473"/>
            <ac:graphicFrameMk id="7" creationId="{D7E5FAF1-77BC-4D99-A60E-08C1E92A4C01}"/>
          </ac:graphicFrameMkLst>
        </pc:graphicFrameChg>
        <pc:graphicFrameChg chg="add del mod">
          <ac:chgData name="boB Taylor" userId="2ac94156-0040-455f-a13f-091fd330254d" providerId="ADAL" clId="{30E028F2-F2D4-489D-8E27-1FB81C11D2DE}" dt="2020-03-17T14:57:05.738" v="424" actId="26606"/>
          <ac:graphicFrameMkLst>
            <pc:docMk/>
            <pc:sldMk cId="3747374180" sldId="1473"/>
            <ac:graphicFrameMk id="9" creationId="{89F70642-13CF-43F4-9BFF-38F36FD52CA0}"/>
          </ac:graphicFrameMkLst>
        </pc:graphicFrameChg>
        <pc:graphicFrameChg chg="add">
          <ac:chgData name="boB Taylor" userId="2ac94156-0040-455f-a13f-091fd330254d" providerId="ADAL" clId="{30E028F2-F2D4-489D-8E27-1FB81C11D2DE}" dt="2020-03-17T14:57:27.463" v="427" actId="26606"/>
          <ac:graphicFrameMkLst>
            <pc:docMk/>
            <pc:sldMk cId="3747374180" sldId="1473"/>
            <ac:graphicFrameMk id="13" creationId="{AFFE2C62-3A58-4E44-8D21-2B705CD81B97}"/>
          </ac:graphicFrameMkLst>
        </pc:graphicFrameChg>
      </pc:sldChg>
      <pc:sldChg chg="addSp delSp modSp mod modTransition modClrScheme chgLayout">
        <pc:chgData name="boB Taylor" userId="2ac94156-0040-455f-a13f-091fd330254d" providerId="ADAL" clId="{30E028F2-F2D4-489D-8E27-1FB81C11D2DE}" dt="2020-03-17T15:00:33.380" v="441"/>
        <pc:sldMkLst>
          <pc:docMk/>
          <pc:sldMk cId="2189172121" sldId="1474"/>
        </pc:sldMkLst>
        <pc:spChg chg="del mod">
          <ac:chgData name="boB Taylor" userId="2ac94156-0040-455f-a13f-091fd330254d" providerId="ADAL" clId="{30E028F2-F2D4-489D-8E27-1FB81C11D2DE}" dt="2020-03-17T14:59:06.603" v="437" actId="26606"/>
          <ac:spMkLst>
            <pc:docMk/>
            <pc:sldMk cId="2189172121" sldId="1474"/>
            <ac:spMk id="3" creationId="{00000000-0000-0000-0000-000000000000}"/>
          </ac:spMkLst>
        </pc:spChg>
        <pc:spChg chg="del">
          <ac:chgData name="boB Taylor" userId="2ac94156-0040-455f-a13f-091fd330254d" providerId="ADAL" clId="{30E028F2-F2D4-489D-8E27-1FB81C11D2DE}" dt="2020-03-17T14:58:11.042" v="433" actId="478"/>
          <ac:spMkLst>
            <pc:docMk/>
            <pc:sldMk cId="2189172121" sldId="1474"/>
            <ac:spMk id="4" creationId="{00000000-0000-0000-0000-000000000000}"/>
          </ac:spMkLst>
        </pc:spChg>
        <pc:spChg chg="mod">
          <ac:chgData name="boB Taylor" userId="2ac94156-0040-455f-a13f-091fd330254d" providerId="ADAL" clId="{30E028F2-F2D4-489D-8E27-1FB81C11D2DE}" dt="2020-03-17T14:59:06.603" v="437" actId="26606"/>
          <ac:spMkLst>
            <pc:docMk/>
            <pc:sldMk cId="2189172121" sldId="1474"/>
            <ac:spMk id="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4"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1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2"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3"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4"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29" creationId="{00000000-0000-0000-0000-000000000000}"/>
          </ac:spMkLst>
        </pc:spChg>
        <pc:spChg chg="mod">
          <ac:chgData name="boB Taylor" userId="2ac94156-0040-455f-a13f-091fd330254d" providerId="ADAL" clId="{30E028F2-F2D4-489D-8E27-1FB81C11D2DE}" dt="2020-03-17T14:58:06.962" v="432" actId="692"/>
          <ac:spMkLst>
            <pc:docMk/>
            <pc:sldMk cId="2189172121" sldId="1474"/>
            <ac:spMk id="3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3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2"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3"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4"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4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5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1"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2"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3"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4"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5"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6"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7"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8"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69"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70" creationId="{00000000-0000-0000-0000-000000000000}"/>
          </ac:spMkLst>
        </pc:spChg>
        <pc:spChg chg="mod">
          <ac:chgData name="boB Taylor" userId="2ac94156-0040-455f-a13f-091fd330254d" providerId="ADAL" clId="{30E028F2-F2D4-489D-8E27-1FB81C11D2DE}" dt="2020-03-17T14:57:43.366" v="429" actId="692"/>
          <ac:spMkLst>
            <pc:docMk/>
            <pc:sldMk cId="2189172121" sldId="1474"/>
            <ac:spMk id="71" creationId="{00000000-0000-0000-0000-000000000000}"/>
          </ac:spMkLst>
        </pc:spChg>
        <pc:spChg chg="add mod">
          <ac:chgData name="boB Taylor" userId="2ac94156-0040-455f-a13f-091fd330254d" providerId="ADAL" clId="{30E028F2-F2D4-489D-8E27-1FB81C11D2DE}" dt="2020-03-17T14:59:06.603" v="437" actId="26606"/>
          <ac:spMkLst>
            <pc:docMk/>
            <pc:sldMk cId="2189172121" sldId="1474"/>
            <ac:spMk id="72" creationId="{C6D2AA96-DAE3-40A7-998A-F09B8BADA559}"/>
          </ac:spMkLst>
        </pc:spChg>
        <pc:grpChg chg="add del mod">
          <ac:chgData name="boB Taylor" userId="2ac94156-0040-455f-a13f-091fd330254d" providerId="ADAL" clId="{30E028F2-F2D4-489D-8E27-1FB81C11D2DE}" dt="2020-03-17T14:58:56.370" v="436" actId="478"/>
          <ac:grpSpMkLst>
            <pc:docMk/>
            <pc:sldMk cId="2189172121" sldId="1474"/>
            <ac:grpSpMk id="2" creationId="{49C5D8D5-E15B-419C-9365-7EAD5EE9EC11}"/>
          </ac:grpSpMkLst>
        </pc:grpChg>
        <pc:grpChg chg="mod">
          <ac:chgData name="boB Taylor" userId="2ac94156-0040-455f-a13f-091fd330254d" providerId="ADAL" clId="{30E028F2-F2D4-489D-8E27-1FB81C11D2DE}" dt="2020-03-17T14:55:35.072" v="414" actId="164"/>
          <ac:grpSpMkLst>
            <pc:docMk/>
            <pc:sldMk cId="2189172121" sldId="1474"/>
            <ac:grpSpMk id="10" creationId="{00000000-0000-0000-0000-000000000000}"/>
          </ac:grpSpMkLst>
        </pc:grpChg>
        <pc:grpChg chg="mod">
          <ac:chgData name="boB Taylor" userId="2ac94156-0040-455f-a13f-091fd330254d" providerId="ADAL" clId="{30E028F2-F2D4-489D-8E27-1FB81C11D2DE}" dt="2020-03-17T14:55:35.072" v="414" actId="164"/>
          <ac:grpSpMkLst>
            <pc:docMk/>
            <pc:sldMk cId="2189172121" sldId="1474"/>
            <ac:grpSpMk id="32" creationId="{00000000-0000-0000-0000-000000000000}"/>
          </ac:grpSpMkLst>
        </pc:grpChg>
        <pc:grpChg chg="mod">
          <ac:chgData name="boB Taylor" userId="2ac94156-0040-455f-a13f-091fd330254d" providerId="ADAL" clId="{30E028F2-F2D4-489D-8E27-1FB81C11D2DE}" dt="2020-03-17T14:55:35.072" v="414" actId="164"/>
          <ac:grpSpMkLst>
            <pc:docMk/>
            <pc:sldMk cId="2189172121" sldId="1474"/>
            <ac:grpSpMk id="52" creationId="{00000000-0000-0000-0000-000000000000}"/>
          </ac:grpSpMkLst>
        </pc:grpChg>
        <pc:graphicFrameChg chg="add mod">
          <ac:chgData name="boB Taylor" userId="2ac94156-0040-455f-a13f-091fd330254d" providerId="ADAL" clId="{30E028F2-F2D4-489D-8E27-1FB81C11D2DE}" dt="2020-03-17T14:59:26.010" v="440" actId="20577"/>
          <ac:graphicFrameMkLst>
            <pc:docMk/>
            <pc:sldMk cId="2189172121" sldId="1474"/>
            <ac:graphicFrameMk id="7" creationId="{ABD57352-C2AF-419B-B8C3-FCD9744EE404}"/>
          </ac:graphicFrameMkLst>
        </pc:graphicFrameChg>
      </pc:sldChg>
      <pc:sldChg chg="addSp delSp modSp add mod modClrScheme chgLayout modNotesTx">
        <pc:chgData name="boB Taylor" userId="2ac94156-0040-455f-a13f-091fd330254d" providerId="ADAL" clId="{30E028F2-F2D4-489D-8E27-1FB81C11D2DE}" dt="2020-03-17T15:09:02.829" v="529" actId="12"/>
        <pc:sldMkLst>
          <pc:docMk/>
          <pc:sldMk cId="4194733795" sldId="1475"/>
        </pc:sldMkLst>
        <pc:spChg chg="del">
          <ac:chgData name="boB Taylor" userId="2ac94156-0040-455f-a13f-091fd330254d" providerId="ADAL" clId="{30E028F2-F2D4-489D-8E27-1FB81C11D2DE}" dt="2020-03-17T15:06:05.300" v="506"/>
          <ac:spMkLst>
            <pc:docMk/>
            <pc:sldMk cId="4194733795" sldId="1475"/>
            <ac:spMk id="2" creationId="{4EF3E480-B7ED-4D60-BFEC-F621F5151B71}"/>
          </ac:spMkLst>
        </pc:spChg>
        <pc:spChg chg="del">
          <ac:chgData name="boB Taylor" userId="2ac94156-0040-455f-a13f-091fd330254d" providerId="ADAL" clId="{30E028F2-F2D4-489D-8E27-1FB81C11D2DE}" dt="2020-03-17T15:06:05.300" v="506"/>
          <ac:spMkLst>
            <pc:docMk/>
            <pc:sldMk cId="4194733795" sldId="1475"/>
            <ac:spMk id="3" creationId="{57189E1C-006C-40E5-8DED-3861199EF7BD}"/>
          </ac:spMkLst>
        </pc:spChg>
        <pc:spChg chg="add mod">
          <ac:chgData name="boB Taylor" userId="2ac94156-0040-455f-a13f-091fd330254d" providerId="ADAL" clId="{30E028F2-F2D4-489D-8E27-1FB81C11D2DE}" dt="2020-03-17T15:08:58.736" v="528" actId="26606"/>
          <ac:spMkLst>
            <pc:docMk/>
            <pc:sldMk cId="4194733795" sldId="1475"/>
            <ac:spMk id="4" creationId="{D0A85AF3-31C4-498A-B822-6989BB131ACB}"/>
          </ac:spMkLst>
        </pc:spChg>
        <pc:spChg chg="add del mod">
          <ac:chgData name="boB Taylor" userId="2ac94156-0040-455f-a13f-091fd330254d" providerId="ADAL" clId="{30E028F2-F2D4-489D-8E27-1FB81C11D2DE}" dt="2020-03-17T15:08:58.736" v="528" actId="26606"/>
          <ac:spMkLst>
            <pc:docMk/>
            <pc:sldMk cId="4194733795" sldId="1475"/>
            <ac:spMk id="5" creationId="{74AA2E77-A34A-463A-B7D3-70216E9F3BED}"/>
          </ac:spMkLst>
        </pc:spChg>
        <pc:spChg chg="add mod">
          <ac:chgData name="boB Taylor" userId="2ac94156-0040-455f-a13f-091fd330254d" providerId="ADAL" clId="{30E028F2-F2D4-489D-8E27-1FB81C11D2DE}" dt="2020-03-17T15:09:02.829" v="529" actId="12"/>
          <ac:spMkLst>
            <pc:docMk/>
            <pc:sldMk cId="4194733795" sldId="1475"/>
            <ac:spMk id="11" creationId="{74AA2E77-A34A-463A-B7D3-70216E9F3BED}"/>
          </ac:spMkLst>
        </pc:spChg>
        <pc:graphicFrameChg chg="add del mod">
          <ac:chgData name="boB Taylor" userId="2ac94156-0040-455f-a13f-091fd330254d" providerId="ADAL" clId="{30E028F2-F2D4-489D-8E27-1FB81C11D2DE}" dt="2020-03-17T15:08:51.735" v="525" actId="26606"/>
          <ac:graphicFrameMkLst>
            <pc:docMk/>
            <pc:sldMk cId="4194733795" sldId="1475"/>
            <ac:graphicFrameMk id="7" creationId="{7E92D178-EAD6-445D-A33D-0BACF72C094E}"/>
          </ac:graphicFrameMkLst>
        </pc:graphicFrameChg>
        <pc:graphicFrameChg chg="add del mod">
          <ac:chgData name="boB Taylor" userId="2ac94156-0040-455f-a13f-091fd330254d" providerId="ADAL" clId="{30E028F2-F2D4-489D-8E27-1FB81C11D2DE}" dt="2020-03-17T15:08:58.727" v="527" actId="26606"/>
          <ac:graphicFrameMkLst>
            <pc:docMk/>
            <pc:sldMk cId="4194733795" sldId="1475"/>
            <ac:graphicFrameMk id="9" creationId="{5E15479D-1BEB-4F7C-A244-C8E3719BCA49}"/>
          </ac:graphicFrameMkLst>
        </pc:graphicFrameChg>
      </pc:sldChg>
      <pc:sldChg chg="addSp delSp modSp add mod modClrScheme chgLayout">
        <pc:chgData name="boB Taylor" userId="2ac94156-0040-455f-a13f-091fd330254d" providerId="ADAL" clId="{30E028F2-F2D4-489D-8E27-1FB81C11D2DE}" dt="2020-03-17T15:10:36.902" v="578" actId="20577"/>
        <pc:sldMkLst>
          <pc:docMk/>
          <pc:sldMk cId="1951336761" sldId="1476"/>
        </pc:sldMkLst>
        <pc:spChg chg="mod">
          <ac:chgData name="boB Taylor" userId="2ac94156-0040-455f-a13f-091fd330254d" providerId="ADAL" clId="{30E028F2-F2D4-489D-8E27-1FB81C11D2DE}" dt="2020-03-17T15:10:36.902" v="578" actId="20577"/>
          <ac:spMkLst>
            <pc:docMk/>
            <pc:sldMk cId="1951336761" sldId="1476"/>
            <ac:spMk id="2" creationId="{DB8CADE1-709D-4D38-B42A-B8361B4F37FA}"/>
          </ac:spMkLst>
        </pc:spChg>
        <pc:spChg chg="add del mod">
          <ac:chgData name="boB Taylor" userId="2ac94156-0040-455f-a13f-091fd330254d" providerId="ADAL" clId="{30E028F2-F2D4-489D-8E27-1FB81C11D2DE}" dt="2020-03-17T15:10:29.955" v="577" actId="26606"/>
          <ac:spMkLst>
            <pc:docMk/>
            <pc:sldMk cId="1951336761" sldId="1476"/>
            <ac:spMk id="3" creationId="{3B43D614-5386-4716-8C5D-430F4FE76D17}"/>
          </ac:spMkLst>
        </pc:spChg>
        <pc:graphicFrameChg chg="add del">
          <ac:chgData name="boB Taylor" userId="2ac94156-0040-455f-a13f-091fd330254d" providerId="ADAL" clId="{30E028F2-F2D4-489D-8E27-1FB81C11D2DE}" dt="2020-03-17T15:10:16.874" v="574" actId="26606"/>
          <ac:graphicFrameMkLst>
            <pc:docMk/>
            <pc:sldMk cId="1951336761" sldId="1476"/>
            <ac:graphicFrameMk id="5" creationId="{B7D25272-154E-46BF-B0DF-2CF9F77FF2EB}"/>
          </ac:graphicFrameMkLst>
        </pc:graphicFrameChg>
        <pc:graphicFrameChg chg="add del">
          <ac:chgData name="boB Taylor" userId="2ac94156-0040-455f-a13f-091fd330254d" providerId="ADAL" clId="{30E028F2-F2D4-489D-8E27-1FB81C11D2DE}" dt="2020-03-17T15:10:29.854" v="576" actId="26606"/>
          <ac:graphicFrameMkLst>
            <pc:docMk/>
            <pc:sldMk cId="1951336761" sldId="1476"/>
            <ac:graphicFrameMk id="7" creationId="{EEA67896-E73A-43B0-A40B-5DECF2CBF174}"/>
          </ac:graphicFrameMkLst>
        </pc:graphicFrameChg>
        <pc:graphicFrameChg chg="add">
          <ac:chgData name="boB Taylor" userId="2ac94156-0040-455f-a13f-091fd330254d" providerId="ADAL" clId="{30E028F2-F2D4-489D-8E27-1FB81C11D2DE}" dt="2020-03-17T15:10:29.955" v="577" actId="26606"/>
          <ac:graphicFrameMkLst>
            <pc:docMk/>
            <pc:sldMk cId="1951336761" sldId="1476"/>
            <ac:graphicFrameMk id="9" creationId="{B7D25272-154E-46BF-B0DF-2CF9F77FF2EB}"/>
          </ac:graphicFrameMkLst>
        </pc:graphicFrameChg>
      </pc:sldChg>
      <pc:sldMasterChg chg="modSldLayout">
        <pc:chgData name="boB Taylor" userId="2ac94156-0040-455f-a13f-091fd330254d" providerId="ADAL" clId="{30E028F2-F2D4-489D-8E27-1FB81C11D2DE}" dt="2020-03-17T14:23:34.661" v="247" actId="478"/>
        <pc:sldMasterMkLst>
          <pc:docMk/>
          <pc:sldMasterMk cId="1044402230" sldId="2147483706"/>
        </pc:sldMasterMkLst>
        <pc:sldLayoutChg chg="delSp modSp">
          <pc:chgData name="boB Taylor" userId="2ac94156-0040-455f-a13f-091fd330254d" providerId="ADAL" clId="{30E028F2-F2D4-489D-8E27-1FB81C11D2DE}" dt="2020-03-17T14:23:34.661" v="247" actId="478"/>
          <pc:sldLayoutMkLst>
            <pc:docMk/>
            <pc:sldMasterMk cId="1044402230" sldId="2147483706"/>
            <pc:sldLayoutMk cId="2514656948" sldId="2147483754"/>
          </pc:sldLayoutMkLst>
          <pc:spChg chg="del">
            <ac:chgData name="boB Taylor" userId="2ac94156-0040-455f-a13f-091fd330254d" providerId="ADAL" clId="{30E028F2-F2D4-489D-8E27-1FB81C11D2DE}" dt="2020-03-17T14:23:34.661" v="247" actId="478"/>
            <ac:spMkLst>
              <pc:docMk/>
              <pc:sldMasterMk cId="1044402230" sldId="2147483706"/>
              <pc:sldLayoutMk cId="2514656948" sldId="2147483754"/>
              <ac:spMk id="5" creationId="{00000000-0000-0000-0000-000000000000}"/>
            </ac:spMkLst>
          </pc:spChg>
          <pc:spChg chg="del mod">
            <ac:chgData name="boB Taylor" userId="2ac94156-0040-455f-a13f-091fd330254d" providerId="ADAL" clId="{30E028F2-F2D4-489D-8E27-1FB81C11D2DE}" dt="2020-03-17T14:23:31.876" v="246" actId="478"/>
            <ac:spMkLst>
              <pc:docMk/>
              <pc:sldMasterMk cId="1044402230" sldId="2147483706"/>
              <pc:sldLayoutMk cId="2514656948" sldId="2147483754"/>
              <ac:spMk id="8" creationId="{00000000-0000-0000-0000-000000000000}"/>
            </ac:spMkLst>
          </pc:spChg>
        </pc:sldLayoutChg>
      </pc:sldMasterChg>
    </pc:docChg>
  </pc:docChgLst>
  <pc:docChgLst>
    <pc:chgData name="Sam Mesel" userId="1ee7badb-5d1f-4872-89ae-dcf7b71f276a" providerId="ADAL" clId="{162A7B6D-C56C-4542-8F7F-1ED0419C18AF}"/>
    <pc:docChg chg="custSel modSld">
      <pc:chgData name="Sam Mesel" userId="1ee7badb-5d1f-4872-89ae-dcf7b71f276a" providerId="ADAL" clId="{162A7B6D-C56C-4542-8F7F-1ED0419C18AF}" dt="2020-05-22T17:19:59.474" v="7" actId="478"/>
      <pc:docMkLst>
        <pc:docMk/>
      </pc:docMkLst>
      <pc:sldChg chg="delSp mod">
        <pc:chgData name="Sam Mesel" userId="1ee7badb-5d1f-4872-89ae-dcf7b71f276a" providerId="ADAL" clId="{162A7B6D-C56C-4542-8F7F-1ED0419C18AF}" dt="2020-05-06T23:21:38.424" v="1" actId="478"/>
        <pc:sldMkLst>
          <pc:docMk/>
          <pc:sldMk cId="2390424317" sldId="606"/>
        </pc:sldMkLst>
        <pc:spChg chg="del">
          <ac:chgData name="Sam Mesel" userId="1ee7badb-5d1f-4872-89ae-dcf7b71f276a" providerId="ADAL" clId="{162A7B6D-C56C-4542-8F7F-1ED0419C18AF}" dt="2020-05-06T23:21:38.424" v="1" actId="478"/>
          <ac:spMkLst>
            <pc:docMk/>
            <pc:sldMk cId="2390424317" sldId="606"/>
            <ac:spMk id="14" creationId="{3F11F991-20F9-46E6-A86E-3B03B0932796}"/>
          </ac:spMkLst>
        </pc:spChg>
        <pc:spChg chg="del">
          <ac:chgData name="Sam Mesel" userId="1ee7badb-5d1f-4872-89ae-dcf7b71f276a" providerId="ADAL" clId="{162A7B6D-C56C-4542-8F7F-1ED0419C18AF}" dt="2020-05-06T23:21:38.424" v="1" actId="478"/>
          <ac:spMkLst>
            <pc:docMk/>
            <pc:sldMk cId="2390424317" sldId="606"/>
            <ac:spMk id="16" creationId="{29A126AC-59E6-46F1-B32C-E7A8AB5B9EAE}"/>
          </ac:spMkLst>
        </pc:spChg>
      </pc:sldChg>
      <pc:sldChg chg="delSp mod">
        <pc:chgData name="Sam Mesel" userId="1ee7badb-5d1f-4872-89ae-dcf7b71f276a" providerId="ADAL" clId="{162A7B6D-C56C-4542-8F7F-1ED0419C18AF}" dt="2020-05-06T23:20:25.758" v="0" actId="478"/>
        <pc:sldMkLst>
          <pc:docMk/>
          <pc:sldMk cId="3928707589" sldId="609"/>
        </pc:sldMkLst>
        <pc:spChg chg="del">
          <ac:chgData name="Sam Mesel" userId="1ee7badb-5d1f-4872-89ae-dcf7b71f276a" providerId="ADAL" clId="{162A7B6D-C56C-4542-8F7F-1ED0419C18AF}" dt="2020-05-06T23:20:25.758" v="0" actId="478"/>
          <ac:spMkLst>
            <pc:docMk/>
            <pc:sldMk cId="3928707589" sldId="609"/>
            <ac:spMk id="3" creationId="{F35E8CBB-5A7D-4DEF-BAF7-8DD5D042F9E0}"/>
          </ac:spMkLst>
        </pc:spChg>
      </pc:sldChg>
      <pc:sldChg chg="delSp mod">
        <pc:chgData name="Sam Mesel" userId="1ee7badb-5d1f-4872-89ae-dcf7b71f276a" providerId="ADAL" clId="{162A7B6D-C56C-4542-8F7F-1ED0419C18AF}" dt="2020-05-22T17:18:58.658" v="2" actId="478"/>
        <pc:sldMkLst>
          <pc:docMk/>
          <pc:sldMk cId="1985242486" sldId="669"/>
        </pc:sldMkLst>
        <pc:spChg chg="del">
          <ac:chgData name="Sam Mesel" userId="1ee7badb-5d1f-4872-89ae-dcf7b71f276a" providerId="ADAL" clId="{162A7B6D-C56C-4542-8F7F-1ED0419C18AF}" dt="2020-05-22T17:18:58.658" v="2" actId="478"/>
          <ac:spMkLst>
            <pc:docMk/>
            <pc:sldMk cId="1985242486" sldId="669"/>
            <ac:spMk id="9" creationId="{610DD977-6571-4E75-91F5-C5F710C78F56}"/>
          </ac:spMkLst>
        </pc:spChg>
      </pc:sldChg>
      <pc:sldChg chg="delSp mod">
        <pc:chgData name="Sam Mesel" userId="1ee7badb-5d1f-4872-89ae-dcf7b71f276a" providerId="ADAL" clId="{162A7B6D-C56C-4542-8F7F-1ED0419C18AF}" dt="2020-05-22T17:19:18.983" v="3" actId="478"/>
        <pc:sldMkLst>
          <pc:docMk/>
          <pc:sldMk cId="2378945749" sldId="1491"/>
        </pc:sldMkLst>
        <pc:spChg chg="del">
          <ac:chgData name="Sam Mesel" userId="1ee7badb-5d1f-4872-89ae-dcf7b71f276a" providerId="ADAL" clId="{162A7B6D-C56C-4542-8F7F-1ED0419C18AF}" dt="2020-05-22T17:19:18.983" v="3" actId="478"/>
          <ac:spMkLst>
            <pc:docMk/>
            <pc:sldMk cId="2378945749" sldId="1491"/>
            <ac:spMk id="5" creationId="{14A2538D-0515-4508-B6B4-89744A2416D4}"/>
          </ac:spMkLst>
        </pc:spChg>
      </pc:sldChg>
      <pc:sldChg chg="delSp mod">
        <pc:chgData name="Sam Mesel" userId="1ee7badb-5d1f-4872-89ae-dcf7b71f276a" providerId="ADAL" clId="{162A7B6D-C56C-4542-8F7F-1ED0419C18AF}" dt="2020-05-22T17:19:59.474" v="7" actId="478"/>
        <pc:sldMkLst>
          <pc:docMk/>
          <pc:sldMk cId="116317705" sldId="1492"/>
        </pc:sldMkLst>
        <pc:spChg chg="del">
          <ac:chgData name="Sam Mesel" userId="1ee7badb-5d1f-4872-89ae-dcf7b71f276a" providerId="ADAL" clId="{162A7B6D-C56C-4542-8F7F-1ED0419C18AF}" dt="2020-05-22T17:19:59.474" v="7" actId="478"/>
          <ac:spMkLst>
            <pc:docMk/>
            <pc:sldMk cId="116317705" sldId="1492"/>
            <ac:spMk id="5" creationId="{14A2538D-0515-4508-B6B4-89744A2416D4}"/>
          </ac:spMkLst>
        </pc:spChg>
      </pc:sldChg>
      <pc:sldChg chg="delSp mod">
        <pc:chgData name="Sam Mesel" userId="1ee7badb-5d1f-4872-89ae-dcf7b71f276a" providerId="ADAL" clId="{162A7B6D-C56C-4542-8F7F-1ED0419C18AF}" dt="2020-05-22T17:19:28.733" v="4" actId="478"/>
        <pc:sldMkLst>
          <pc:docMk/>
          <pc:sldMk cId="2244982301" sldId="1495"/>
        </pc:sldMkLst>
        <pc:spChg chg="del">
          <ac:chgData name="Sam Mesel" userId="1ee7badb-5d1f-4872-89ae-dcf7b71f276a" providerId="ADAL" clId="{162A7B6D-C56C-4542-8F7F-1ED0419C18AF}" dt="2020-05-22T17:19:28.733" v="4" actId="478"/>
          <ac:spMkLst>
            <pc:docMk/>
            <pc:sldMk cId="2244982301" sldId="1495"/>
            <ac:spMk id="22" creationId="{AFE113AE-2D33-49AC-AC5F-6C8AD8A7D88D}"/>
          </ac:spMkLst>
        </pc:spChg>
      </pc:sldChg>
      <pc:sldChg chg="delSp mod">
        <pc:chgData name="Sam Mesel" userId="1ee7badb-5d1f-4872-89ae-dcf7b71f276a" providerId="ADAL" clId="{162A7B6D-C56C-4542-8F7F-1ED0419C18AF}" dt="2020-05-22T17:19:38.314" v="5" actId="478"/>
        <pc:sldMkLst>
          <pc:docMk/>
          <pc:sldMk cId="2660728281" sldId="1496"/>
        </pc:sldMkLst>
        <pc:spChg chg="del">
          <ac:chgData name="Sam Mesel" userId="1ee7badb-5d1f-4872-89ae-dcf7b71f276a" providerId="ADAL" clId="{162A7B6D-C56C-4542-8F7F-1ED0419C18AF}" dt="2020-05-22T17:19:38.314" v="5" actId="478"/>
          <ac:spMkLst>
            <pc:docMk/>
            <pc:sldMk cId="2660728281" sldId="1496"/>
            <ac:spMk id="22" creationId="{AFE113AE-2D33-49AC-AC5F-6C8AD8A7D88D}"/>
          </ac:spMkLst>
        </pc:spChg>
      </pc:sldChg>
      <pc:sldChg chg="delSp mod">
        <pc:chgData name="Sam Mesel" userId="1ee7badb-5d1f-4872-89ae-dcf7b71f276a" providerId="ADAL" clId="{162A7B6D-C56C-4542-8F7F-1ED0419C18AF}" dt="2020-05-22T17:19:45.173" v="6" actId="478"/>
        <pc:sldMkLst>
          <pc:docMk/>
          <pc:sldMk cId="764427157" sldId="1497"/>
        </pc:sldMkLst>
        <pc:spChg chg="del">
          <ac:chgData name="Sam Mesel" userId="1ee7badb-5d1f-4872-89ae-dcf7b71f276a" providerId="ADAL" clId="{162A7B6D-C56C-4542-8F7F-1ED0419C18AF}" dt="2020-05-22T17:19:45.173" v="6" actId="478"/>
          <ac:spMkLst>
            <pc:docMk/>
            <pc:sldMk cId="764427157" sldId="1497"/>
            <ac:spMk id="22" creationId="{AFE113AE-2D33-49AC-AC5F-6C8AD8A7D88D}"/>
          </ac:spMkLst>
        </pc:spChg>
      </pc:sldChg>
    </pc:docChg>
  </pc:docChgLst>
  <pc:docChgLst>
    <pc:chgData name="Leo Martin Johnson" userId="dab44b59-57bd-4bfd-94f1-2057ecac4675" providerId="ADAL" clId="{17458E0C-029A-443A-AAAD-6B72D8CE20AF}"/>
    <pc:docChg chg="modSld">
      <pc:chgData name="Leo Martin Johnson" userId="dab44b59-57bd-4bfd-94f1-2057ecac4675" providerId="ADAL" clId="{17458E0C-029A-443A-AAAD-6B72D8CE20AF}" dt="2020-03-20T18:11:42.717" v="11" actId="20577"/>
      <pc:docMkLst>
        <pc:docMk/>
      </pc:docMkLst>
      <pc:sldChg chg="modNotesTx">
        <pc:chgData name="Leo Martin Johnson" userId="dab44b59-57bd-4bfd-94f1-2057ecac4675" providerId="ADAL" clId="{17458E0C-029A-443A-AAAD-6B72D8CE20AF}" dt="2020-03-19T22:53:05.147" v="1" actId="400"/>
        <pc:sldMkLst>
          <pc:docMk/>
          <pc:sldMk cId="1985242486" sldId="669"/>
        </pc:sldMkLst>
      </pc:sldChg>
      <pc:sldChg chg="modNotesTx">
        <pc:chgData name="Leo Martin Johnson" userId="dab44b59-57bd-4bfd-94f1-2057ecac4675" providerId="ADAL" clId="{17458E0C-029A-443A-AAAD-6B72D8CE20AF}" dt="2020-03-19T22:57:57.611" v="6" actId="400"/>
        <pc:sldMkLst>
          <pc:docMk/>
          <pc:sldMk cId="2873864563" sldId="695"/>
        </pc:sldMkLst>
      </pc:sldChg>
      <pc:sldChg chg="modNotesTx">
        <pc:chgData name="Leo Martin Johnson" userId="dab44b59-57bd-4bfd-94f1-2057ecac4675" providerId="ADAL" clId="{17458E0C-029A-443A-AAAD-6B72D8CE20AF}" dt="2020-03-19T22:58:08.628" v="8" actId="400"/>
        <pc:sldMkLst>
          <pc:docMk/>
          <pc:sldMk cId="94860651" sldId="696"/>
        </pc:sldMkLst>
      </pc:sldChg>
      <pc:sldChg chg="modNotesTx">
        <pc:chgData name="Leo Martin Johnson" userId="dab44b59-57bd-4bfd-94f1-2057ecac4675" providerId="ADAL" clId="{17458E0C-029A-443A-AAAD-6B72D8CE20AF}" dt="2020-03-19T22:56:10.251" v="4" actId="400"/>
        <pc:sldMkLst>
          <pc:docMk/>
          <pc:sldMk cId="1716151462" sldId="1480"/>
        </pc:sldMkLst>
      </pc:sldChg>
      <pc:sldChg chg="modNotesTx">
        <pc:chgData name="Leo Martin Johnson" userId="dab44b59-57bd-4bfd-94f1-2057ecac4675" providerId="ADAL" clId="{17458E0C-029A-443A-AAAD-6B72D8CE20AF}" dt="2020-03-19T22:58:20.795" v="9" actId="400"/>
        <pc:sldMkLst>
          <pc:docMk/>
          <pc:sldMk cId="3385827956" sldId="1484"/>
        </pc:sldMkLst>
      </pc:sldChg>
      <pc:sldChg chg="modSp">
        <pc:chgData name="Leo Martin Johnson" userId="dab44b59-57bd-4bfd-94f1-2057ecac4675" providerId="ADAL" clId="{17458E0C-029A-443A-AAAD-6B72D8CE20AF}" dt="2020-03-20T18:11:42.717" v="11" actId="20577"/>
        <pc:sldMkLst>
          <pc:docMk/>
          <pc:sldMk cId="594598944" sldId="1494"/>
        </pc:sldMkLst>
        <pc:graphicFrameChg chg="mod">
          <ac:chgData name="Leo Martin Johnson" userId="dab44b59-57bd-4bfd-94f1-2057ecac4675" providerId="ADAL" clId="{17458E0C-029A-443A-AAAD-6B72D8CE20AF}" dt="2020-03-20T18:11:42.717" v="11" actId="20577"/>
          <ac:graphicFrameMkLst>
            <pc:docMk/>
            <pc:sldMk cId="594598944" sldId="1494"/>
            <ac:graphicFrameMk id="6" creationId="{ECD4F830-3F57-4416-97C9-3E857291381E}"/>
          </ac:graphicFrameMkLst>
        </pc:graphicFrameChg>
      </pc:sldChg>
    </pc:docChg>
  </pc:docChgLst>
  <pc:docChgLst>
    <pc:chgData name="Batuhan Yildiz" userId="90f344fc-4655-4923-aeaf-697bba59c1a7" providerId="ADAL" clId="{280188D5-40FE-422E-A0E4-AFC6D08683F8}"/>
    <pc:docChg chg="undo custSel addSld modSld modMainMaster modSection">
      <pc:chgData name="Batuhan Yildiz" userId="90f344fc-4655-4923-aeaf-697bba59c1a7" providerId="ADAL" clId="{280188D5-40FE-422E-A0E4-AFC6D08683F8}" dt="2020-04-10T08:31:17.011" v="551" actId="478"/>
      <pc:docMkLst>
        <pc:docMk/>
      </pc:docMkLst>
      <pc:sldChg chg="modSp mod modNotesTx">
        <pc:chgData name="Batuhan Yildiz" userId="90f344fc-4655-4923-aeaf-697bba59c1a7" providerId="ADAL" clId="{280188D5-40FE-422E-A0E4-AFC6D08683F8}" dt="2020-04-06T15:52:43.018" v="420"/>
        <pc:sldMkLst>
          <pc:docMk/>
          <pc:sldMk cId="4267675391" sldId="531"/>
        </pc:sldMkLst>
        <pc:spChg chg="mod">
          <ac:chgData name="Batuhan Yildiz" userId="90f344fc-4655-4923-aeaf-697bba59c1a7" providerId="ADAL" clId="{280188D5-40FE-422E-A0E4-AFC6D08683F8}" dt="2020-04-03T17:12:56.218" v="6" actId="20577"/>
          <ac:spMkLst>
            <pc:docMk/>
            <pc:sldMk cId="4267675391" sldId="531"/>
            <ac:spMk id="3" creationId="{8F64A22E-2B43-4FC6-AF08-0CDB3F9E9269}"/>
          </ac:spMkLst>
        </pc:spChg>
        <pc:spChg chg="mod">
          <ac:chgData name="Batuhan Yildiz" userId="90f344fc-4655-4923-aeaf-697bba59c1a7" providerId="ADAL" clId="{280188D5-40FE-422E-A0E4-AFC6D08683F8}" dt="2020-04-03T17:13:21.919" v="16" actId="255"/>
          <ac:spMkLst>
            <pc:docMk/>
            <pc:sldMk cId="4267675391" sldId="531"/>
            <ac:spMk id="6" creationId="{637E159C-9ACF-48AE-927A-D5FB13695C7F}"/>
          </ac:spMkLst>
        </pc:spChg>
      </pc:sldChg>
      <pc:sldChg chg="modSp mod">
        <pc:chgData name="Batuhan Yildiz" userId="90f344fc-4655-4923-aeaf-697bba59c1a7" providerId="ADAL" clId="{280188D5-40FE-422E-A0E4-AFC6D08683F8}" dt="2020-04-06T15:51:57.472" v="406" actId="20577"/>
        <pc:sldMkLst>
          <pc:docMk/>
          <pc:sldMk cId="1615560134" sldId="562"/>
        </pc:sldMkLst>
        <pc:spChg chg="mod">
          <ac:chgData name="Batuhan Yildiz" userId="90f344fc-4655-4923-aeaf-697bba59c1a7" providerId="ADAL" clId="{280188D5-40FE-422E-A0E4-AFC6D08683F8}" dt="2020-04-06T15:51:57.472" v="406" actId="20577"/>
          <ac:spMkLst>
            <pc:docMk/>
            <pc:sldMk cId="1615560134" sldId="562"/>
            <ac:spMk id="3" creationId="{859B2BAE-A383-4E74-B3CF-9AC64DA11727}"/>
          </ac:spMkLst>
        </pc:spChg>
      </pc:sldChg>
      <pc:sldChg chg="modSp mod modNotesTx">
        <pc:chgData name="Batuhan Yildiz" userId="90f344fc-4655-4923-aeaf-697bba59c1a7" providerId="ADAL" clId="{280188D5-40FE-422E-A0E4-AFC6D08683F8}" dt="2020-04-06T15:56:57.819" v="457"/>
        <pc:sldMkLst>
          <pc:docMk/>
          <pc:sldMk cId="1487953619" sldId="574"/>
        </pc:sldMkLst>
        <pc:spChg chg="mod">
          <ac:chgData name="Batuhan Yildiz" userId="90f344fc-4655-4923-aeaf-697bba59c1a7" providerId="ADAL" clId="{280188D5-40FE-422E-A0E4-AFC6D08683F8}" dt="2020-04-03T18:37:44.580" v="155" actId="20577"/>
          <ac:spMkLst>
            <pc:docMk/>
            <pc:sldMk cId="1487953619" sldId="574"/>
            <ac:spMk id="3" creationId="{8F64A22E-2B43-4FC6-AF08-0CDB3F9E9269}"/>
          </ac:spMkLst>
        </pc:spChg>
        <pc:spChg chg="mod">
          <ac:chgData name="Batuhan Yildiz" userId="90f344fc-4655-4923-aeaf-697bba59c1a7" providerId="ADAL" clId="{280188D5-40FE-422E-A0E4-AFC6D08683F8}" dt="2020-04-03T18:37:56.896" v="160" actId="113"/>
          <ac:spMkLst>
            <pc:docMk/>
            <pc:sldMk cId="1487953619" sldId="574"/>
            <ac:spMk id="6" creationId="{637E159C-9ACF-48AE-927A-D5FB13695C7F}"/>
          </ac:spMkLst>
        </pc:spChg>
      </pc:sldChg>
      <pc:sldChg chg="modNotesTx">
        <pc:chgData name="Batuhan Yildiz" userId="90f344fc-4655-4923-aeaf-697bba59c1a7" providerId="ADAL" clId="{280188D5-40FE-422E-A0E4-AFC6D08683F8}" dt="2020-04-06T15:59:09.199" v="472"/>
        <pc:sldMkLst>
          <pc:docMk/>
          <pc:sldMk cId="3006523152" sldId="581"/>
        </pc:sldMkLst>
      </pc:sldChg>
      <pc:sldChg chg="modSp mod modNotesTx">
        <pc:chgData name="Batuhan Yildiz" userId="90f344fc-4655-4923-aeaf-697bba59c1a7" providerId="ADAL" clId="{280188D5-40FE-422E-A0E4-AFC6D08683F8}" dt="2020-04-06T16:01:38.227" v="485" actId="6549"/>
        <pc:sldMkLst>
          <pc:docMk/>
          <pc:sldMk cId="1564438252" sldId="588"/>
        </pc:sldMkLst>
        <pc:spChg chg="mod">
          <ac:chgData name="Batuhan Yildiz" userId="90f344fc-4655-4923-aeaf-697bba59c1a7" providerId="ADAL" clId="{280188D5-40FE-422E-A0E4-AFC6D08683F8}" dt="2020-04-03T19:27:28.233" v="286" actId="20577"/>
          <ac:spMkLst>
            <pc:docMk/>
            <pc:sldMk cId="1564438252" sldId="588"/>
            <ac:spMk id="3" creationId="{8F64A22E-2B43-4FC6-AF08-0CDB3F9E9269}"/>
          </ac:spMkLst>
        </pc:spChg>
        <pc:spChg chg="mod">
          <ac:chgData name="Batuhan Yildiz" userId="90f344fc-4655-4923-aeaf-697bba59c1a7" providerId="ADAL" clId="{280188D5-40FE-422E-A0E4-AFC6D08683F8}" dt="2020-04-03T19:27:37.163" v="289" actId="113"/>
          <ac:spMkLst>
            <pc:docMk/>
            <pc:sldMk cId="1564438252" sldId="588"/>
            <ac:spMk id="6" creationId="{637E159C-9ACF-48AE-927A-D5FB13695C7F}"/>
          </ac:spMkLst>
        </pc:spChg>
      </pc:sldChg>
      <pc:sldChg chg="modNotesTx">
        <pc:chgData name="Batuhan Yildiz" userId="90f344fc-4655-4923-aeaf-697bba59c1a7" providerId="ADAL" clId="{280188D5-40FE-422E-A0E4-AFC6D08683F8}" dt="2020-04-06T16:02:13.896" v="496" actId="20577"/>
        <pc:sldMkLst>
          <pc:docMk/>
          <pc:sldMk cId="2725246263" sldId="589"/>
        </pc:sldMkLst>
      </pc:sldChg>
      <pc:sldChg chg="modSp mod modNotesTx">
        <pc:chgData name="Batuhan Yildiz" userId="90f344fc-4655-4923-aeaf-697bba59c1a7" providerId="ADAL" clId="{280188D5-40FE-422E-A0E4-AFC6D08683F8}" dt="2020-04-06T16:08:53.583" v="548" actId="20577"/>
        <pc:sldMkLst>
          <pc:docMk/>
          <pc:sldMk cId="1274964080" sldId="596"/>
        </pc:sldMkLst>
        <pc:spChg chg="mod">
          <ac:chgData name="Batuhan Yildiz" userId="90f344fc-4655-4923-aeaf-697bba59c1a7" providerId="ADAL" clId="{280188D5-40FE-422E-A0E4-AFC6D08683F8}" dt="2020-04-03T21:02:56.985" v="404"/>
          <ac:spMkLst>
            <pc:docMk/>
            <pc:sldMk cId="1274964080" sldId="596"/>
            <ac:spMk id="2" creationId="{BC57B38C-8413-4861-A4F5-7DF656AEAD0D}"/>
          </ac:spMkLst>
        </pc:spChg>
      </pc:sldChg>
      <pc:sldChg chg="modSp mod modNotesTx">
        <pc:chgData name="Batuhan Yildiz" userId="90f344fc-4655-4923-aeaf-697bba59c1a7" providerId="ADAL" clId="{280188D5-40FE-422E-A0E4-AFC6D08683F8}" dt="2020-04-06T15:53:14.653" v="424"/>
        <pc:sldMkLst>
          <pc:docMk/>
          <pc:sldMk cId="3117416934" sldId="620"/>
        </pc:sldMkLst>
        <pc:spChg chg="mod">
          <ac:chgData name="Batuhan Yildiz" userId="90f344fc-4655-4923-aeaf-697bba59c1a7" providerId="ADAL" clId="{280188D5-40FE-422E-A0E4-AFC6D08683F8}" dt="2020-04-03T17:15:52.095" v="41" actId="20577"/>
          <ac:spMkLst>
            <pc:docMk/>
            <pc:sldMk cId="3117416934" sldId="620"/>
            <ac:spMk id="3" creationId="{8F64A22E-2B43-4FC6-AF08-0CDB3F9E9269}"/>
          </ac:spMkLst>
        </pc:spChg>
        <pc:spChg chg="mod">
          <ac:chgData name="Batuhan Yildiz" userId="90f344fc-4655-4923-aeaf-697bba59c1a7" providerId="ADAL" clId="{280188D5-40FE-422E-A0E4-AFC6D08683F8}" dt="2020-04-03T17:16:00.316" v="44" actId="113"/>
          <ac:spMkLst>
            <pc:docMk/>
            <pc:sldMk cId="3117416934" sldId="620"/>
            <ac:spMk id="6" creationId="{637E159C-9ACF-48AE-927A-D5FB13695C7F}"/>
          </ac:spMkLst>
        </pc:spChg>
      </pc:sldChg>
      <pc:sldChg chg="modSp mod modNotesTx">
        <pc:chgData name="Batuhan Yildiz" userId="90f344fc-4655-4923-aeaf-697bba59c1a7" providerId="ADAL" clId="{280188D5-40FE-422E-A0E4-AFC6D08683F8}" dt="2020-04-06T15:54:00.060" v="435" actId="20577"/>
        <pc:sldMkLst>
          <pc:docMk/>
          <pc:sldMk cId="1706074310" sldId="624"/>
        </pc:sldMkLst>
        <pc:spChg chg="mod">
          <ac:chgData name="Batuhan Yildiz" userId="90f344fc-4655-4923-aeaf-697bba59c1a7" providerId="ADAL" clId="{280188D5-40FE-422E-A0E4-AFC6D08683F8}" dt="2020-04-03T18:23:04.132" v="62" actId="20577"/>
          <ac:spMkLst>
            <pc:docMk/>
            <pc:sldMk cId="1706074310" sldId="624"/>
            <ac:spMk id="3" creationId="{8F64A22E-2B43-4FC6-AF08-0CDB3F9E9269}"/>
          </ac:spMkLst>
        </pc:spChg>
        <pc:spChg chg="mod">
          <ac:chgData name="Batuhan Yildiz" userId="90f344fc-4655-4923-aeaf-697bba59c1a7" providerId="ADAL" clId="{280188D5-40FE-422E-A0E4-AFC6D08683F8}" dt="2020-04-03T18:23:19.741" v="67" actId="113"/>
          <ac:spMkLst>
            <pc:docMk/>
            <pc:sldMk cId="1706074310" sldId="624"/>
            <ac:spMk id="6" creationId="{637E159C-9ACF-48AE-927A-D5FB13695C7F}"/>
          </ac:spMkLst>
        </pc:spChg>
      </pc:sldChg>
      <pc:sldChg chg="modSp mod modNotesTx">
        <pc:chgData name="Batuhan Yildiz" userId="90f344fc-4655-4923-aeaf-697bba59c1a7" providerId="ADAL" clId="{280188D5-40FE-422E-A0E4-AFC6D08683F8}" dt="2020-04-06T15:54:36.700" v="439"/>
        <pc:sldMkLst>
          <pc:docMk/>
          <pc:sldMk cId="840088110" sldId="630"/>
        </pc:sldMkLst>
        <pc:spChg chg="mod">
          <ac:chgData name="Batuhan Yildiz" userId="90f344fc-4655-4923-aeaf-697bba59c1a7" providerId="ADAL" clId="{280188D5-40FE-422E-A0E4-AFC6D08683F8}" dt="2020-04-03T18:27:16.122" v="84" actId="20577"/>
          <ac:spMkLst>
            <pc:docMk/>
            <pc:sldMk cId="840088110" sldId="630"/>
            <ac:spMk id="3" creationId="{8F64A22E-2B43-4FC6-AF08-0CDB3F9E9269}"/>
          </ac:spMkLst>
        </pc:spChg>
        <pc:spChg chg="mod">
          <ac:chgData name="Batuhan Yildiz" userId="90f344fc-4655-4923-aeaf-697bba59c1a7" providerId="ADAL" clId="{280188D5-40FE-422E-A0E4-AFC6D08683F8}" dt="2020-04-03T18:27:25.552" v="88" actId="113"/>
          <ac:spMkLst>
            <pc:docMk/>
            <pc:sldMk cId="840088110" sldId="630"/>
            <ac:spMk id="6" creationId="{637E159C-9ACF-48AE-927A-D5FB13695C7F}"/>
          </ac:spMkLst>
        </pc:spChg>
      </pc:sldChg>
      <pc:sldChg chg="modSp mod modNotesTx">
        <pc:chgData name="Batuhan Yildiz" userId="90f344fc-4655-4923-aeaf-697bba59c1a7" providerId="ADAL" clId="{280188D5-40FE-422E-A0E4-AFC6D08683F8}" dt="2020-04-06T15:55:52.497" v="447"/>
        <pc:sldMkLst>
          <pc:docMk/>
          <pc:sldMk cId="2114274025" sldId="633"/>
        </pc:sldMkLst>
        <pc:spChg chg="mod">
          <ac:chgData name="Batuhan Yildiz" userId="90f344fc-4655-4923-aeaf-697bba59c1a7" providerId="ADAL" clId="{280188D5-40FE-422E-A0E4-AFC6D08683F8}" dt="2020-04-03T18:34:06.167" v="149" actId="20577"/>
          <ac:spMkLst>
            <pc:docMk/>
            <pc:sldMk cId="2114274025" sldId="633"/>
            <ac:spMk id="3" creationId="{8F64A22E-2B43-4FC6-AF08-0CDB3F9E9269}"/>
          </ac:spMkLst>
        </pc:spChg>
        <pc:spChg chg="mod">
          <ac:chgData name="Batuhan Yildiz" userId="90f344fc-4655-4923-aeaf-697bba59c1a7" providerId="ADAL" clId="{280188D5-40FE-422E-A0E4-AFC6D08683F8}" dt="2020-04-03T18:34:19.938" v="152" actId="113"/>
          <ac:spMkLst>
            <pc:docMk/>
            <pc:sldMk cId="2114274025" sldId="633"/>
            <ac:spMk id="6" creationId="{637E159C-9ACF-48AE-927A-D5FB13695C7F}"/>
          </ac:spMkLst>
        </pc:spChg>
      </pc:sldChg>
      <pc:sldChg chg="modSp mod modNotesTx">
        <pc:chgData name="Batuhan Yildiz" userId="90f344fc-4655-4923-aeaf-697bba59c1a7" providerId="ADAL" clId="{280188D5-40FE-422E-A0E4-AFC6D08683F8}" dt="2020-04-06T16:00:03.173" v="476"/>
        <pc:sldMkLst>
          <pc:docMk/>
          <pc:sldMk cId="3912230581" sldId="658"/>
        </pc:sldMkLst>
        <pc:spChg chg="mod">
          <ac:chgData name="Batuhan Yildiz" userId="90f344fc-4655-4923-aeaf-697bba59c1a7" providerId="ADAL" clId="{280188D5-40FE-422E-A0E4-AFC6D08683F8}" dt="2020-04-03T19:03:28.220" v="222" actId="20577"/>
          <ac:spMkLst>
            <pc:docMk/>
            <pc:sldMk cId="3912230581" sldId="658"/>
            <ac:spMk id="3" creationId="{8F64A22E-2B43-4FC6-AF08-0CDB3F9E9269}"/>
          </ac:spMkLst>
        </pc:spChg>
        <pc:spChg chg="mod">
          <ac:chgData name="Batuhan Yildiz" userId="90f344fc-4655-4923-aeaf-697bba59c1a7" providerId="ADAL" clId="{280188D5-40FE-422E-A0E4-AFC6D08683F8}" dt="2020-04-03T19:03:37.081" v="225" actId="113"/>
          <ac:spMkLst>
            <pc:docMk/>
            <pc:sldMk cId="3912230581" sldId="658"/>
            <ac:spMk id="6" creationId="{637E159C-9ACF-48AE-927A-D5FB13695C7F}"/>
          </ac:spMkLst>
        </pc:spChg>
      </pc:sldChg>
      <pc:sldChg chg="modSp mod modNotesTx">
        <pc:chgData name="Batuhan Yildiz" userId="90f344fc-4655-4923-aeaf-697bba59c1a7" providerId="ADAL" clId="{280188D5-40FE-422E-A0E4-AFC6D08683F8}" dt="2020-04-06T16:00:51.524" v="480"/>
        <pc:sldMkLst>
          <pc:docMk/>
          <pc:sldMk cId="1838965179" sldId="661"/>
        </pc:sldMkLst>
        <pc:spChg chg="mod">
          <ac:chgData name="Batuhan Yildiz" userId="90f344fc-4655-4923-aeaf-697bba59c1a7" providerId="ADAL" clId="{280188D5-40FE-422E-A0E4-AFC6D08683F8}" dt="2020-04-03T19:24:39.580" v="265" actId="20577"/>
          <ac:spMkLst>
            <pc:docMk/>
            <pc:sldMk cId="1838965179" sldId="661"/>
            <ac:spMk id="3" creationId="{8F64A22E-2B43-4FC6-AF08-0CDB3F9E9269}"/>
          </ac:spMkLst>
        </pc:spChg>
        <pc:spChg chg="mod">
          <ac:chgData name="Batuhan Yildiz" userId="90f344fc-4655-4923-aeaf-697bba59c1a7" providerId="ADAL" clId="{280188D5-40FE-422E-A0E4-AFC6D08683F8}" dt="2020-04-03T19:24:49.341" v="268" actId="113"/>
          <ac:spMkLst>
            <pc:docMk/>
            <pc:sldMk cId="1838965179" sldId="661"/>
            <ac:spMk id="6" creationId="{637E159C-9ACF-48AE-927A-D5FB13695C7F}"/>
          </ac:spMkLst>
        </pc:spChg>
      </pc:sldChg>
      <pc:sldChg chg="modSp mod modNotesTx">
        <pc:chgData name="Batuhan Yildiz" userId="90f344fc-4655-4923-aeaf-697bba59c1a7" providerId="ADAL" clId="{280188D5-40FE-422E-A0E4-AFC6D08683F8}" dt="2020-04-06T15:57:40.487" v="468" actId="20577"/>
        <pc:sldMkLst>
          <pc:docMk/>
          <pc:sldMk cId="1523160996" sldId="664"/>
        </pc:sldMkLst>
        <pc:spChg chg="mod">
          <ac:chgData name="Batuhan Yildiz" userId="90f344fc-4655-4923-aeaf-697bba59c1a7" providerId="ADAL" clId="{280188D5-40FE-422E-A0E4-AFC6D08683F8}" dt="2020-04-03T18:44:44.207" v="205" actId="20577"/>
          <ac:spMkLst>
            <pc:docMk/>
            <pc:sldMk cId="1523160996" sldId="664"/>
            <ac:spMk id="2" creationId="{BC57B38C-8413-4861-A4F5-7DF656AEAD0D}"/>
          </ac:spMkLst>
        </pc:spChg>
      </pc:sldChg>
      <pc:sldChg chg="modSp mod modNotesTx">
        <pc:chgData name="Batuhan Yildiz" userId="90f344fc-4655-4923-aeaf-697bba59c1a7" providerId="ADAL" clId="{280188D5-40FE-422E-A0E4-AFC6D08683F8}" dt="2020-04-06T15:55:16.798" v="443"/>
        <pc:sldMkLst>
          <pc:docMk/>
          <pc:sldMk cId="2074685303" sldId="668"/>
        </pc:sldMkLst>
        <pc:spChg chg="mod">
          <ac:chgData name="Batuhan Yildiz" userId="90f344fc-4655-4923-aeaf-697bba59c1a7" providerId="ADAL" clId="{280188D5-40FE-422E-A0E4-AFC6D08683F8}" dt="2020-04-03T18:28:46.711" v="105" actId="20577"/>
          <ac:spMkLst>
            <pc:docMk/>
            <pc:sldMk cId="2074685303" sldId="668"/>
            <ac:spMk id="3" creationId="{8F64A22E-2B43-4FC6-AF08-0CDB3F9E9269}"/>
          </ac:spMkLst>
        </pc:spChg>
        <pc:spChg chg="mod">
          <ac:chgData name="Batuhan Yildiz" userId="90f344fc-4655-4923-aeaf-697bba59c1a7" providerId="ADAL" clId="{280188D5-40FE-422E-A0E4-AFC6D08683F8}" dt="2020-04-03T18:29:04.242" v="110" actId="255"/>
          <ac:spMkLst>
            <pc:docMk/>
            <pc:sldMk cId="2074685303" sldId="668"/>
            <ac:spMk id="6" creationId="{637E159C-9ACF-48AE-927A-D5FB13695C7F}"/>
          </ac:spMkLst>
        </pc:spChg>
      </pc:sldChg>
      <pc:sldChg chg="modNotesTx">
        <pc:chgData name="Batuhan Yildiz" userId="90f344fc-4655-4923-aeaf-697bba59c1a7" providerId="ADAL" clId="{280188D5-40FE-422E-A0E4-AFC6D08683F8}" dt="2020-04-06T16:06:46.203" v="523"/>
        <pc:sldMkLst>
          <pc:docMk/>
          <pc:sldMk cId="3179011032" sldId="680"/>
        </pc:sldMkLst>
      </pc:sldChg>
      <pc:sldChg chg="modSp mod modNotesTx">
        <pc:chgData name="Batuhan Yildiz" userId="90f344fc-4655-4923-aeaf-697bba59c1a7" providerId="ADAL" clId="{280188D5-40FE-422E-A0E4-AFC6D08683F8}" dt="2020-04-06T16:05:20.539" v="512"/>
        <pc:sldMkLst>
          <pc:docMk/>
          <pc:sldMk cId="936353458" sldId="682"/>
        </pc:sldMkLst>
        <pc:spChg chg="mod">
          <ac:chgData name="Batuhan Yildiz" userId="90f344fc-4655-4923-aeaf-697bba59c1a7" providerId="ADAL" clId="{280188D5-40FE-422E-A0E4-AFC6D08683F8}" dt="2020-04-03T19:53:00.165" v="339" actId="113"/>
          <ac:spMkLst>
            <pc:docMk/>
            <pc:sldMk cId="936353458" sldId="682"/>
            <ac:spMk id="6" creationId="{637E159C-9ACF-48AE-927A-D5FB13695C7F}"/>
          </ac:spMkLst>
        </pc:spChg>
      </pc:sldChg>
      <pc:sldChg chg="modSp mod">
        <pc:chgData name="Batuhan Yildiz" userId="90f344fc-4655-4923-aeaf-697bba59c1a7" providerId="ADAL" clId="{280188D5-40FE-422E-A0E4-AFC6D08683F8}" dt="2020-04-10T08:30:59.986" v="550" actId="6549"/>
        <pc:sldMkLst>
          <pc:docMk/>
          <pc:sldMk cId="2843153520" sldId="1422"/>
        </pc:sldMkLst>
        <pc:spChg chg="mod">
          <ac:chgData name="Batuhan Yildiz" userId="90f344fc-4655-4923-aeaf-697bba59c1a7" providerId="ADAL" clId="{280188D5-40FE-422E-A0E4-AFC6D08683F8}" dt="2020-04-10T08:30:59.986" v="550" actId="6549"/>
          <ac:spMkLst>
            <pc:docMk/>
            <pc:sldMk cId="2843153520" sldId="1422"/>
            <ac:spMk id="9" creationId="{00000000-0000-0000-0000-000000000000}"/>
          </ac:spMkLst>
        </pc:spChg>
      </pc:sldChg>
      <pc:sldChg chg="modNotesTx">
        <pc:chgData name="Batuhan Yildiz" userId="90f344fc-4655-4923-aeaf-697bba59c1a7" providerId="ADAL" clId="{280188D5-40FE-422E-A0E4-AFC6D08683F8}" dt="2020-04-06T16:06:13.224" v="519"/>
        <pc:sldMkLst>
          <pc:docMk/>
          <pc:sldMk cId="2597649565" sldId="1483"/>
        </pc:sldMkLst>
      </pc:sldChg>
      <pc:sldChg chg="modNotesTx">
        <pc:chgData name="Batuhan Yildiz" userId="90f344fc-4655-4923-aeaf-697bba59c1a7" providerId="ADAL" clId="{280188D5-40FE-422E-A0E4-AFC6D08683F8}" dt="2020-04-06T16:07:55.662" v="532"/>
        <pc:sldMkLst>
          <pc:docMk/>
          <pc:sldMk cId="1619754780" sldId="1486"/>
        </pc:sldMkLst>
      </pc:sldChg>
      <pc:sldChg chg="modNotesTx">
        <pc:chgData name="Batuhan Yildiz" userId="90f344fc-4655-4923-aeaf-697bba59c1a7" providerId="ADAL" clId="{280188D5-40FE-422E-A0E4-AFC6D08683F8}" dt="2020-04-06T16:08:17.459" v="536"/>
        <pc:sldMkLst>
          <pc:docMk/>
          <pc:sldMk cId="1932756397" sldId="1490"/>
        </pc:sldMkLst>
      </pc:sldChg>
      <pc:sldChg chg="modSp add mod modNotesTx">
        <pc:chgData name="Batuhan Yildiz" userId="90f344fc-4655-4923-aeaf-697bba59c1a7" providerId="ADAL" clId="{280188D5-40FE-422E-A0E4-AFC6D08683F8}" dt="2020-04-06T16:02:55.423" v="499" actId="20577"/>
        <pc:sldMkLst>
          <pc:docMk/>
          <pc:sldMk cId="865064506" sldId="1498"/>
        </pc:sldMkLst>
        <pc:spChg chg="mod">
          <ac:chgData name="Batuhan Yildiz" userId="90f344fc-4655-4923-aeaf-697bba59c1a7" providerId="ADAL" clId="{280188D5-40FE-422E-A0E4-AFC6D08683F8}" dt="2020-04-03T20:39:05.965" v="390"/>
          <ac:spMkLst>
            <pc:docMk/>
            <pc:sldMk cId="865064506" sldId="1498"/>
            <ac:spMk id="2" creationId="{BC57B38C-8413-4861-A4F5-7DF656AEAD0D}"/>
          </ac:spMkLst>
        </pc:spChg>
        <pc:spChg chg="mod">
          <ac:chgData name="Batuhan Yildiz" userId="90f344fc-4655-4923-aeaf-697bba59c1a7" providerId="ADAL" clId="{280188D5-40FE-422E-A0E4-AFC6D08683F8}" dt="2020-04-03T20:40:11.138" v="391"/>
          <ac:spMkLst>
            <pc:docMk/>
            <pc:sldMk cId="865064506" sldId="1498"/>
            <ac:spMk id="3" creationId="{4897B8F8-26DF-42FB-ACB0-59929F1C2344}"/>
          </ac:spMkLst>
        </pc:spChg>
      </pc:sldChg>
      <pc:sldMasterChg chg="modSldLayout">
        <pc:chgData name="Batuhan Yildiz" userId="90f344fc-4655-4923-aeaf-697bba59c1a7" providerId="ADAL" clId="{280188D5-40FE-422E-A0E4-AFC6D08683F8}" dt="2020-04-10T08:31:17.011" v="551" actId="478"/>
        <pc:sldMasterMkLst>
          <pc:docMk/>
          <pc:sldMasterMk cId="1044402230" sldId="2147483706"/>
        </pc:sldMasterMkLst>
        <pc:sldLayoutChg chg="delSp mod">
          <pc:chgData name="Batuhan Yildiz" userId="90f344fc-4655-4923-aeaf-697bba59c1a7" providerId="ADAL" clId="{280188D5-40FE-422E-A0E4-AFC6D08683F8}" dt="2020-04-10T08:31:17.011" v="551" actId="478"/>
          <pc:sldLayoutMkLst>
            <pc:docMk/>
            <pc:sldMasterMk cId="1044402230" sldId="2147483706"/>
            <pc:sldLayoutMk cId="137331162" sldId="2147483756"/>
          </pc:sldLayoutMkLst>
          <pc:spChg chg="del">
            <ac:chgData name="Batuhan Yildiz" userId="90f344fc-4655-4923-aeaf-697bba59c1a7" providerId="ADAL" clId="{280188D5-40FE-422E-A0E4-AFC6D08683F8}" dt="2020-04-10T08:31:17.011" v="551" actId="478"/>
            <ac:spMkLst>
              <pc:docMk/>
              <pc:sldMasterMk cId="1044402230" sldId="2147483706"/>
              <pc:sldLayoutMk cId="137331162" sldId="2147483756"/>
              <ac:spMk id="7" creationId="{00000000-0000-0000-0000-000000000000}"/>
            </ac:spMkLst>
          </pc:spChg>
          <pc:spChg chg="del">
            <ac:chgData name="Batuhan Yildiz" userId="90f344fc-4655-4923-aeaf-697bba59c1a7" providerId="ADAL" clId="{280188D5-40FE-422E-A0E4-AFC6D08683F8}" dt="2020-04-10T08:30:40.668" v="549" actId="478"/>
            <ac:spMkLst>
              <pc:docMk/>
              <pc:sldMasterMk cId="1044402230" sldId="2147483706"/>
              <pc:sldLayoutMk cId="137331162" sldId="2147483756"/>
              <ac:spMk id="8" creationId="{00000000-0000-0000-0000-000000000000}"/>
            </ac:spMkLst>
          </pc:spChg>
        </pc:sldLayoutChg>
      </pc:sldMasterChg>
    </pc:docChg>
  </pc:docChgLst>
  <pc:docChgLst>
    <pc:chgData name="Varinder Singh" userId="S::varising@microsoft.com::e78eab9f-fa20-4bd5-9745-875ae6e7a1cb" providerId="AD" clId="Web-{3BF7E6E9-F4C9-4D5C-BEA6-6D4CE2B41640}"/>
    <pc:docChg chg="addSld delSld modSld sldOrd modSection">
      <pc:chgData name="Varinder Singh" userId="S::varising@microsoft.com::e78eab9f-fa20-4bd5-9745-875ae6e7a1cb" providerId="AD" clId="Web-{3BF7E6E9-F4C9-4D5C-BEA6-6D4CE2B41640}" dt="2020-03-07T16:36:52.981" v="90"/>
      <pc:docMkLst>
        <pc:docMk/>
      </pc:docMkLst>
      <pc:sldChg chg="del">
        <pc:chgData name="Varinder Singh" userId="S::varising@microsoft.com::e78eab9f-fa20-4bd5-9745-875ae6e7a1cb" providerId="AD" clId="Web-{3BF7E6E9-F4C9-4D5C-BEA6-6D4CE2B41640}" dt="2020-03-07T16:36:52.981" v="90"/>
        <pc:sldMkLst>
          <pc:docMk/>
          <pc:sldMk cId="2627857805" sldId="613"/>
        </pc:sldMkLst>
      </pc:sldChg>
      <pc:sldChg chg="del">
        <pc:chgData name="Varinder Singh" userId="S::varising@microsoft.com::e78eab9f-fa20-4bd5-9745-875ae6e7a1cb" providerId="AD" clId="Web-{3BF7E6E9-F4C9-4D5C-BEA6-6D4CE2B41640}" dt="2020-03-07T16:36:37.012" v="89"/>
        <pc:sldMkLst>
          <pc:docMk/>
          <pc:sldMk cId="147614051" sldId="617"/>
        </pc:sldMkLst>
      </pc:sldChg>
      <pc:sldChg chg="modSp ord modNotes">
        <pc:chgData name="Varinder Singh" userId="S::varising@microsoft.com::e78eab9f-fa20-4bd5-9745-875ae6e7a1cb" providerId="AD" clId="Web-{3BF7E6E9-F4C9-4D5C-BEA6-6D4CE2B41640}" dt="2020-03-07T16:34:58.277" v="84"/>
        <pc:sldMkLst>
          <pc:docMk/>
          <pc:sldMk cId="840088110" sldId="630"/>
        </pc:sldMkLst>
        <pc:spChg chg="mod">
          <ac:chgData name="Varinder Singh" userId="S::varising@microsoft.com::e78eab9f-fa20-4bd5-9745-875ae6e7a1cb" providerId="AD" clId="Web-{3BF7E6E9-F4C9-4D5C-BEA6-6D4CE2B41640}" dt="2020-03-07T16:31:31.574" v="22" actId="20577"/>
          <ac:spMkLst>
            <pc:docMk/>
            <pc:sldMk cId="840088110" sldId="630"/>
            <ac:spMk id="3" creationId="{8F64A22E-2B43-4FC6-AF08-0CDB3F9E9269}"/>
          </ac:spMkLst>
        </pc:spChg>
        <pc:spChg chg="mod">
          <ac:chgData name="Varinder Singh" userId="S::varising@microsoft.com::e78eab9f-fa20-4bd5-9745-875ae6e7a1cb" providerId="AD" clId="Web-{3BF7E6E9-F4C9-4D5C-BEA6-6D4CE2B41640}" dt="2020-03-07T16:32:42.402" v="76" actId="20577"/>
          <ac:spMkLst>
            <pc:docMk/>
            <pc:sldMk cId="840088110" sldId="630"/>
            <ac:spMk id="6" creationId="{637E159C-9ACF-48AE-927A-D5FB13695C7F}"/>
          </ac:spMkLst>
        </pc:spChg>
      </pc:sldChg>
      <pc:sldChg chg="del">
        <pc:chgData name="Varinder Singh" userId="S::varising@microsoft.com::e78eab9f-fa20-4bd5-9745-875ae6e7a1cb" providerId="AD" clId="Web-{3BF7E6E9-F4C9-4D5C-BEA6-6D4CE2B41640}" dt="2020-03-07T16:28:31.917" v="0"/>
        <pc:sldMkLst>
          <pc:docMk/>
          <pc:sldMk cId="150279395" sldId="637"/>
        </pc:sldMkLst>
      </pc:sldChg>
      <pc:sldChg chg="modSp">
        <pc:chgData name="Varinder Singh" userId="S::varising@microsoft.com::e78eab9f-fa20-4bd5-9745-875ae6e7a1cb" providerId="AD" clId="Web-{3BF7E6E9-F4C9-4D5C-BEA6-6D4CE2B41640}" dt="2020-03-07T16:35:40.465" v="87" actId="20577"/>
        <pc:sldMkLst>
          <pc:docMk/>
          <pc:sldMk cId="3922378719" sldId="666"/>
        </pc:sldMkLst>
        <pc:spChg chg="mod">
          <ac:chgData name="Varinder Singh" userId="S::varising@microsoft.com::e78eab9f-fa20-4bd5-9745-875ae6e7a1cb" providerId="AD" clId="Web-{3BF7E6E9-F4C9-4D5C-BEA6-6D4CE2B41640}" dt="2020-03-07T16:35:40.465" v="87" actId="20577"/>
          <ac:spMkLst>
            <pc:docMk/>
            <pc:sldMk cId="3922378719" sldId="666"/>
            <ac:spMk id="4" creationId="{137A33B6-B3D2-4115-BBAF-642663B99AE8}"/>
          </ac:spMkLst>
        </pc:spChg>
      </pc:sldChg>
      <pc:sldChg chg="add replId">
        <pc:chgData name="Varinder Singh" userId="S::varising@microsoft.com::e78eab9f-fa20-4bd5-9745-875ae6e7a1cb" providerId="AD" clId="Web-{3BF7E6E9-F4C9-4D5C-BEA6-6D4CE2B41640}" dt="2020-03-07T16:31:01.745" v="14"/>
        <pc:sldMkLst>
          <pc:docMk/>
          <pc:sldMk cId="2074685303" sldId="668"/>
        </pc:sldMkLst>
      </pc:sldChg>
    </pc:docChg>
  </pc:docChgLst>
  <pc:docChgLst>
    <pc:chgData name="Sam Mesel" userId="1ee7badb-5d1f-4872-89ae-dcf7b71f276a" providerId="ADAL" clId="{53886FC4-CEC3-49C2-A16F-E052A3E85A45}"/>
    <pc:docChg chg="undo custSel addSld delSld modSld sldOrd modSection">
      <pc:chgData name="Sam Mesel" userId="1ee7badb-5d1f-4872-89ae-dcf7b71f276a" providerId="ADAL" clId="{53886FC4-CEC3-49C2-A16F-E052A3E85A45}" dt="2020-03-20T19:24:52.319" v="16036" actId="12"/>
      <pc:docMkLst>
        <pc:docMk/>
      </pc:docMkLst>
      <pc:sldChg chg="modSp mod">
        <pc:chgData name="Sam Mesel" userId="1ee7badb-5d1f-4872-89ae-dcf7b71f276a" providerId="ADAL" clId="{53886FC4-CEC3-49C2-A16F-E052A3E85A45}" dt="2020-03-18T02:46:53.889" v="5322" actId="6549"/>
        <pc:sldMkLst>
          <pc:docMk/>
          <pc:sldMk cId="1196121053" sldId="260"/>
        </pc:sldMkLst>
        <pc:spChg chg="mod">
          <ac:chgData name="Sam Mesel" userId="1ee7badb-5d1f-4872-89ae-dcf7b71f276a" providerId="ADAL" clId="{53886FC4-CEC3-49C2-A16F-E052A3E85A45}" dt="2020-03-18T02:46:53.889" v="5322" actId="6549"/>
          <ac:spMkLst>
            <pc:docMk/>
            <pc:sldMk cId="1196121053" sldId="260"/>
            <ac:spMk id="4" creationId="{5D85DF47-300F-4085-B774-DDE734B96F99}"/>
          </ac:spMkLst>
        </pc:spChg>
      </pc:sldChg>
      <pc:sldChg chg="add del setBg">
        <pc:chgData name="Sam Mesel" userId="1ee7badb-5d1f-4872-89ae-dcf7b71f276a" providerId="ADAL" clId="{53886FC4-CEC3-49C2-A16F-E052A3E85A45}" dt="2020-03-11T02:47:19.747" v="3015"/>
        <pc:sldMkLst>
          <pc:docMk/>
          <pc:sldMk cId="364842060" sldId="290"/>
        </pc:sldMkLst>
      </pc:sldChg>
      <pc:sldChg chg="modSp mod">
        <pc:chgData name="Sam Mesel" userId="1ee7badb-5d1f-4872-89ae-dcf7b71f276a" providerId="ADAL" clId="{53886FC4-CEC3-49C2-A16F-E052A3E85A45}" dt="2020-03-04T23:36:23.957" v="1609" actId="6549"/>
        <pc:sldMkLst>
          <pc:docMk/>
          <pc:sldMk cId="3931192502" sldId="414"/>
        </pc:sldMkLst>
        <pc:spChg chg="mod">
          <ac:chgData name="Sam Mesel" userId="1ee7badb-5d1f-4872-89ae-dcf7b71f276a" providerId="ADAL" clId="{53886FC4-CEC3-49C2-A16F-E052A3E85A45}" dt="2020-03-04T23:36:23.957" v="1609" actId="6549"/>
          <ac:spMkLst>
            <pc:docMk/>
            <pc:sldMk cId="3931192502" sldId="414"/>
            <ac:spMk id="15" creationId="{F1FE9ECC-87E8-4E90-B453-0D8472E1073C}"/>
          </ac:spMkLst>
        </pc:spChg>
      </pc:sldChg>
      <pc:sldChg chg="modSp mod">
        <pc:chgData name="Sam Mesel" userId="1ee7badb-5d1f-4872-89ae-dcf7b71f276a" providerId="ADAL" clId="{53886FC4-CEC3-49C2-A16F-E052A3E85A45}" dt="2020-03-04T16:58:07.539" v="19" actId="6549"/>
        <pc:sldMkLst>
          <pc:docMk/>
          <pc:sldMk cId="2621600474" sldId="534"/>
        </pc:sldMkLst>
        <pc:spChg chg="mod">
          <ac:chgData name="Sam Mesel" userId="1ee7badb-5d1f-4872-89ae-dcf7b71f276a" providerId="ADAL" clId="{53886FC4-CEC3-49C2-A16F-E052A3E85A45}" dt="2020-03-04T16:58:07.539" v="19" actId="6549"/>
          <ac:spMkLst>
            <pc:docMk/>
            <pc:sldMk cId="2621600474" sldId="534"/>
            <ac:spMk id="5" creationId="{55182462-DFDF-4D48-A92C-42FD52821C4E}"/>
          </ac:spMkLst>
        </pc:spChg>
      </pc:sldChg>
      <pc:sldChg chg="modSp mod">
        <pc:chgData name="Sam Mesel" userId="1ee7badb-5d1f-4872-89ae-dcf7b71f276a" providerId="ADAL" clId="{53886FC4-CEC3-49C2-A16F-E052A3E85A45}" dt="2020-03-18T02:47:02.854" v="5323" actId="6549"/>
        <pc:sldMkLst>
          <pc:docMk/>
          <pc:sldMk cId="4083746080" sldId="561"/>
        </pc:sldMkLst>
        <pc:spChg chg="mod">
          <ac:chgData name="Sam Mesel" userId="1ee7badb-5d1f-4872-89ae-dcf7b71f276a" providerId="ADAL" clId="{53886FC4-CEC3-49C2-A16F-E052A3E85A45}" dt="2020-03-18T02:47:02.854" v="5323" actId="6549"/>
          <ac:spMkLst>
            <pc:docMk/>
            <pc:sldMk cId="4083746080" sldId="561"/>
            <ac:spMk id="2" creationId="{74CD77A6-E28D-4D8D-9FE5-64ADAA827AC9}"/>
          </ac:spMkLst>
        </pc:spChg>
      </pc:sldChg>
      <pc:sldChg chg="modSp mod">
        <pc:chgData name="Sam Mesel" userId="1ee7badb-5d1f-4872-89ae-dcf7b71f276a" providerId="ADAL" clId="{53886FC4-CEC3-49C2-A16F-E052A3E85A45}" dt="2020-03-18T02:46:34.992" v="5320" actId="6549"/>
        <pc:sldMkLst>
          <pc:docMk/>
          <pc:sldMk cId="1615560134" sldId="562"/>
        </pc:sldMkLst>
        <pc:spChg chg="mod">
          <ac:chgData name="Sam Mesel" userId="1ee7badb-5d1f-4872-89ae-dcf7b71f276a" providerId="ADAL" clId="{53886FC4-CEC3-49C2-A16F-E052A3E85A45}" dt="2020-03-18T02:46:34.992" v="5320" actId="6549"/>
          <ac:spMkLst>
            <pc:docMk/>
            <pc:sldMk cId="1615560134" sldId="562"/>
            <ac:spMk id="3" creationId="{859B2BAE-A383-4E74-B3CF-9AC64DA11727}"/>
          </ac:spMkLst>
        </pc:spChg>
      </pc:sldChg>
      <pc:sldChg chg="modNotesTx">
        <pc:chgData name="Sam Mesel" userId="1ee7badb-5d1f-4872-89ae-dcf7b71f276a" providerId="ADAL" clId="{53886FC4-CEC3-49C2-A16F-E052A3E85A45}" dt="2020-03-04T20:29:00.982" v="422" actId="20577"/>
        <pc:sldMkLst>
          <pc:docMk/>
          <pc:sldMk cId="3735096506" sldId="563"/>
        </pc:sldMkLst>
      </pc:sldChg>
      <pc:sldChg chg="modSp mod">
        <pc:chgData name="Sam Mesel" userId="1ee7badb-5d1f-4872-89ae-dcf7b71f276a" providerId="ADAL" clId="{53886FC4-CEC3-49C2-A16F-E052A3E85A45}" dt="2020-03-18T02:47:09.291" v="5324" actId="6549"/>
        <pc:sldMkLst>
          <pc:docMk/>
          <pc:sldMk cId="289400407" sldId="564"/>
        </pc:sldMkLst>
        <pc:spChg chg="mod">
          <ac:chgData name="Sam Mesel" userId="1ee7badb-5d1f-4872-89ae-dcf7b71f276a" providerId="ADAL" clId="{53886FC4-CEC3-49C2-A16F-E052A3E85A45}" dt="2020-03-18T02:47:09.291" v="5324" actId="6549"/>
          <ac:spMkLst>
            <pc:docMk/>
            <pc:sldMk cId="289400407" sldId="564"/>
            <ac:spMk id="2" creationId="{74CD77A6-E28D-4D8D-9FE5-64ADAA827AC9}"/>
          </ac:spMkLst>
        </pc:spChg>
      </pc:sldChg>
      <pc:sldChg chg="modSp mod">
        <pc:chgData name="Sam Mesel" userId="1ee7badb-5d1f-4872-89ae-dcf7b71f276a" providerId="ADAL" clId="{53886FC4-CEC3-49C2-A16F-E052A3E85A45}" dt="2020-03-04T20:33:31.864" v="442" actId="5793"/>
        <pc:sldMkLst>
          <pc:docMk/>
          <pc:sldMk cId="2034824179" sldId="565"/>
        </pc:sldMkLst>
        <pc:spChg chg="mod">
          <ac:chgData name="Sam Mesel" userId="1ee7badb-5d1f-4872-89ae-dcf7b71f276a" providerId="ADAL" clId="{53886FC4-CEC3-49C2-A16F-E052A3E85A45}" dt="2020-03-04T20:33:31.864" v="442" actId="5793"/>
          <ac:spMkLst>
            <pc:docMk/>
            <pc:sldMk cId="2034824179" sldId="565"/>
            <ac:spMk id="5" creationId="{55182462-DFDF-4D48-A92C-42FD52821C4E}"/>
          </ac:spMkLst>
        </pc:spChg>
      </pc:sldChg>
      <pc:sldChg chg="modSp mod">
        <pc:chgData name="Sam Mesel" userId="1ee7badb-5d1f-4872-89ae-dcf7b71f276a" providerId="ADAL" clId="{53886FC4-CEC3-49C2-A16F-E052A3E85A45}" dt="2020-03-18T02:47:16.657" v="5325" actId="6549"/>
        <pc:sldMkLst>
          <pc:docMk/>
          <pc:sldMk cId="57495843" sldId="571"/>
        </pc:sldMkLst>
        <pc:spChg chg="mod">
          <ac:chgData name="Sam Mesel" userId="1ee7badb-5d1f-4872-89ae-dcf7b71f276a" providerId="ADAL" clId="{53886FC4-CEC3-49C2-A16F-E052A3E85A45}" dt="2020-03-18T02:47:16.657" v="5325" actId="6549"/>
          <ac:spMkLst>
            <pc:docMk/>
            <pc:sldMk cId="57495843" sldId="571"/>
            <ac:spMk id="2" creationId="{74CD77A6-E28D-4D8D-9FE5-64ADAA827AC9}"/>
          </ac:spMkLst>
        </pc:spChg>
      </pc:sldChg>
      <pc:sldChg chg="modSp mod">
        <pc:chgData name="Sam Mesel" userId="1ee7badb-5d1f-4872-89ae-dcf7b71f276a" providerId="ADAL" clId="{53886FC4-CEC3-49C2-A16F-E052A3E85A45}" dt="2020-03-04T21:40:33.209" v="740" actId="6549"/>
        <pc:sldMkLst>
          <pc:docMk/>
          <pc:sldMk cId="2314306782" sldId="572"/>
        </pc:sldMkLst>
        <pc:spChg chg="mod">
          <ac:chgData name="Sam Mesel" userId="1ee7badb-5d1f-4872-89ae-dcf7b71f276a" providerId="ADAL" clId="{53886FC4-CEC3-49C2-A16F-E052A3E85A45}" dt="2020-03-04T21:40:33.209" v="740" actId="6549"/>
          <ac:spMkLst>
            <pc:docMk/>
            <pc:sldMk cId="2314306782" sldId="572"/>
            <ac:spMk id="5" creationId="{55182462-DFDF-4D48-A92C-42FD52821C4E}"/>
          </ac:spMkLst>
        </pc:spChg>
      </pc:sldChg>
      <pc:sldChg chg="modSp">
        <pc:chgData name="Sam Mesel" userId="1ee7badb-5d1f-4872-89ae-dcf7b71f276a" providerId="ADAL" clId="{53886FC4-CEC3-49C2-A16F-E052A3E85A45}" dt="2020-03-04T21:50:31.706" v="744" actId="20577"/>
        <pc:sldMkLst>
          <pc:docMk/>
          <pc:sldMk cId="4248838292" sldId="573"/>
        </pc:sldMkLst>
        <pc:graphicFrameChg chg="mod">
          <ac:chgData name="Sam Mesel" userId="1ee7badb-5d1f-4872-89ae-dcf7b71f276a" providerId="ADAL" clId="{53886FC4-CEC3-49C2-A16F-E052A3E85A45}" dt="2020-03-04T21:50:31.706" v="744" actId="20577"/>
          <ac:graphicFrameMkLst>
            <pc:docMk/>
            <pc:sldMk cId="4248838292" sldId="573"/>
            <ac:graphicFrameMk id="5" creationId="{1F83612F-0834-42B2-AA7B-98B8BAB0DB29}"/>
          </ac:graphicFrameMkLst>
        </pc:graphicFrameChg>
      </pc:sldChg>
      <pc:sldChg chg="modSp mod">
        <pc:chgData name="Sam Mesel" userId="1ee7badb-5d1f-4872-89ae-dcf7b71f276a" providerId="ADAL" clId="{53886FC4-CEC3-49C2-A16F-E052A3E85A45}" dt="2020-03-18T02:34:58.412" v="5299" actId="6549"/>
        <pc:sldMkLst>
          <pc:docMk/>
          <pc:sldMk cId="1611742758" sldId="578"/>
        </pc:sldMkLst>
        <pc:spChg chg="mod">
          <ac:chgData name="Sam Mesel" userId="1ee7badb-5d1f-4872-89ae-dcf7b71f276a" providerId="ADAL" clId="{53886FC4-CEC3-49C2-A16F-E052A3E85A45}" dt="2020-03-18T02:34:58.412" v="5299" actId="6549"/>
          <ac:spMkLst>
            <pc:docMk/>
            <pc:sldMk cId="1611742758" sldId="578"/>
            <ac:spMk id="2" creationId="{74CD77A6-E28D-4D8D-9FE5-64ADAA827AC9}"/>
          </ac:spMkLst>
        </pc:spChg>
      </pc:sldChg>
      <pc:sldChg chg="modSp mod">
        <pc:chgData name="Sam Mesel" userId="1ee7badb-5d1f-4872-89ae-dcf7b71f276a" providerId="ADAL" clId="{53886FC4-CEC3-49C2-A16F-E052A3E85A45}" dt="2020-03-18T02:35:25.971" v="5306" actId="6549"/>
        <pc:sldMkLst>
          <pc:docMk/>
          <pc:sldMk cId="3424530645" sldId="579"/>
        </pc:sldMkLst>
        <pc:spChg chg="mod">
          <ac:chgData name="Sam Mesel" userId="1ee7badb-5d1f-4872-89ae-dcf7b71f276a" providerId="ADAL" clId="{53886FC4-CEC3-49C2-A16F-E052A3E85A45}" dt="2020-03-18T02:35:25.971" v="5306" actId="6549"/>
          <ac:spMkLst>
            <pc:docMk/>
            <pc:sldMk cId="3424530645" sldId="579"/>
            <ac:spMk id="5" creationId="{55182462-DFDF-4D48-A92C-42FD52821C4E}"/>
          </ac:spMkLst>
        </pc:spChg>
      </pc:sldChg>
      <pc:sldChg chg="modSp mod">
        <pc:chgData name="Sam Mesel" userId="1ee7badb-5d1f-4872-89ae-dcf7b71f276a" providerId="ADAL" clId="{53886FC4-CEC3-49C2-A16F-E052A3E85A45}" dt="2020-03-18T02:46:10.952" v="5314" actId="6549"/>
        <pc:sldMkLst>
          <pc:docMk/>
          <pc:sldMk cId="3265042349" sldId="585"/>
        </pc:sldMkLst>
        <pc:spChg chg="mod">
          <ac:chgData name="Sam Mesel" userId="1ee7badb-5d1f-4872-89ae-dcf7b71f276a" providerId="ADAL" clId="{53886FC4-CEC3-49C2-A16F-E052A3E85A45}" dt="2020-03-18T02:46:10.952" v="5314" actId="6549"/>
          <ac:spMkLst>
            <pc:docMk/>
            <pc:sldMk cId="3265042349" sldId="585"/>
            <ac:spMk id="2" creationId="{74CD77A6-E28D-4D8D-9FE5-64ADAA827AC9}"/>
          </ac:spMkLst>
        </pc:spChg>
      </pc:sldChg>
      <pc:sldChg chg="modSp mod">
        <pc:chgData name="Sam Mesel" userId="1ee7badb-5d1f-4872-89ae-dcf7b71f276a" providerId="ADAL" clId="{53886FC4-CEC3-49C2-A16F-E052A3E85A45}" dt="2020-03-04T23:19:08.162" v="1458" actId="20577"/>
        <pc:sldMkLst>
          <pc:docMk/>
          <pc:sldMk cId="3258136525" sldId="586"/>
        </pc:sldMkLst>
        <pc:spChg chg="mod">
          <ac:chgData name="Sam Mesel" userId="1ee7badb-5d1f-4872-89ae-dcf7b71f276a" providerId="ADAL" clId="{53886FC4-CEC3-49C2-A16F-E052A3E85A45}" dt="2020-03-04T23:19:08.162" v="1458" actId="20577"/>
          <ac:spMkLst>
            <pc:docMk/>
            <pc:sldMk cId="3258136525" sldId="586"/>
            <ac:spMk id="5" creationId="{55182462-DFDF-4D48-A92C-42FD52821C4E}"/>
          </ac:spMkLst>
        </pc:spChg>
      </pc:sldChg>
      <pc:sldChg chg="modSp mod">
        <pc:chgData name="Sam Mesel" userId="1ee7badb-5d1f-4872-89ae-dcf7b71f276a" providerId="ADAL" clId="{53886FC4-CEC3-49C2-A16F-E052A3E85A45}" dt="2020-03-20T19:21:47.831" v="16018" actId="12"/>
        <pc:sldMkLst>
          <pc:docMk/>
          <pc:sldMk cId="2725246263" sldId="589"/>
        </pc:sldMkLst>
        <pc:spChg chg="mod">
          <ac:chgData name="Sam Mesel" userId="1ee7badb-5d1f-4872-89ae-dcf7b71f276a" providerId="ADAL" clId="{53886FC4-CEC3-49C2-A16F-E052A3E85A45}" dt="2020-03-20T19:21:25.911" v="16007" actId="108"/>
          <ac:spMkLst>
            <pc:docMk/>
            <pc:sldMk cId="2725246263" sldId="589"/>
            <ac:spMk id="2" creationId="{BC57B38C-8413-4861-A4F5-7DF656AEAD0D}"/>
          </ac:spMkLst>
        </pc:spChg>
        <pc:spChg chg="mod">
          <ac:chgData name="Sam Mesel" userId="1ee7badb-5d1f-4872-89ae-dcf7b71f276a" providerId="ADAL" clId="{53886FC4-CEC3-49C2-A16F-E052A3E85A45}" dt="2020-03-20T19:21:47.831" v="16018" actId="12"/>
          <ac:spMkLst>
            <pc:docMk/>
            <pc:sldMk cId="2725246263" sldId="589"/>
            <ac:spMk id="3" creationId="{4897B8F8-26DF-42FB-ACB0-59929F1C2344}"/>
          </ac:spMkLst>
        </pc:spChg>
      </pc:sldChg>
      <pc:sldChg chg="modSp mod">
        <pc:chgData name="Sam Mesel" userId="1ee7badb-5d1f-4872-89ae-dcf7b71f276a" providerId="ADAL" clId="{53886FC4-CEC3-49C2-A16F-E052A3E85A45}" dt="2020-03-18T02:47:29.079" v="5326" actId="6549"/>
        <pc:sldMkLst>
          <pc:docMk/>
          <pc:sldMk cId="1945948018" sldId="592"/>
        </pc:sldMkLst>
        <pc:spChg chg="mod">
          <ac:chgData name="Sam Mesel" userId="1ee7badb-5d1f-4872-89ae-dcf7b71f276a" providerId="ADAL" clId="{53886FC4-CEC3-49C2-A16F-E052A3E85A45}" dt="2020-03-18T02:47:29.079" v="5326" actId="6549"/>
          <ac:spMkLst>
            <pc:docMk/>
            <pc:sldMk cId="1945948018" sldId="592"/>
            <ac:spMk id="2" creationId="{74CD77A6-E28D-4D8D-9FE5-64ADAA827AC9}"/>
          </ac:spMkLst>
        </pc:spChg>
      </pc:sldChg>
      <pc:sldChg chg="modSp mod setBg">
        <pc:chgData name="Sam Mesel" userId="1ee7badb-5d1f-4872-89ae-dcf7b71f276a" providerId="ADAL" clId="{53886FC4-CEC3-49C2-A16F-E052A3E85A45}" dt="2020-03-20T16:32:17.302" v="14976" actId="20577"/>
        <pc:sldMkLst>
          <pc:docMk/>
          <pc:sldMk cId="1849063011" sldId="593"/>
        </pc:sldMkLst>
        <pc:spChg chg="mod">
          <ac:chgData name="Sam Mesel" userId="1ee7badb-5d1f-4872-89ae-dcf7b71f276a" providerId="ADAL" clId="{53886FC4-CEC3-49C2-A16F-E052A3E85A45}" dt="2020-03-20T16:32:17.302" v="14976" actId="20577"/>
          <ac:spMkLst>
            <pc:docMk/>
            <pc:sldMk cId="1849063011" sldId="593"/>
            <ac:spMk id="5" creationId="{55182462-DFDF-4D48-A92C-42FD52821C4E}"/>
          </ac:spMkLst>
        </pc:spChg>
      </pc:sldChg>
      <pc:sldChg chg="addSp delSp modSp del mod">
        <pc:chgData name="Sam Mesel" userId="1ee7badb-5d1f-4872-89ae-dcf7b71f276a" providerId="ADAL" clId="{53886FC4-CEC3-49C2-A16F-E052A3E85A45}" dt="2020-03-11T21:49:01.667" v="3646" actId="2696"/>
        <pc:sldMkLst>
          <pc:docMk/>
          <pc:sldMk cId="512892420" sldId="594"/>
        </pc:sldMkLst>
        <pc:spChg chg="add del mod">
          <ac:chgData name="Sam Mesel" userId="1ee7badb-5d1f-4872-89ae-dcf7b71f276a" providerId="ADAL" clId="{53886FC4-CEC3-49C2-A16F-E052A3E85A45}" dt="2020-03-11T01:27:38.449" v="1870" actId="12084"/>
          <ac:spMkLst>
            <pc:docMk/>
            <pc:sldMk cId="512892420" sldId="594"/>
            <ac:spMk id="5" creationId="{C4FC2365-5893-46BF-AD77-13D6BF30F156}"/>
          </ac:spMkLst>
        </pc:spChg>
        <pc:graphicFrameChg chg="add del mod">
          <ac:chgData name="Sam Mesel" userId="1ee7badb-5d1f-4872-89ae-dcf7b71f276a" providerId="ADAL" clId="{53886FC4-CEC3-49C2-A16F-E052A3E85A45}" dt="2020-03-11T01:27:47.627" v="1872" actId="21"/>
          <ac:graphicFrameMkLst>
            <pc:docMk/>
            <pc:sldMk cId="512892420" sldId="594"/>
            <ac:graphicFrameMk id="6" creationId="{F156BDB3-C664-40EC-9E9D-2BB8FD52799A}"/>
          </ac:graphicFrameMkLst>
        </pc:graphicFrameChg>
      </pc:sldChg>
      <pc:sldChg chg="modSp del mod ord modNotesTx">
        <pc:chgData name="Sam Mesel" userId="1ee7badb-5d1f-4872-89ae-dcf7b71f276a" providerId="ADAL" clId="{53886FC4-CEC3-49C2-A16F-E052A3E85A45}" dt="2020-03-20T00:36:57.087" v="13070" actId="47"/>
        <pc:sldMkLst>
          <pc:docMk/>
          <pc:sldMk cId="1064848225" sldId="595"/>
        </pc:sldMkLst>
        <pc:spChg chg="mod">
          <ac:chgData name="Sam Mesel" userId="1ee7badb-5d1f-4872-89ae-dcf7b71f276a" providerId="ADAL" clId="{53886FC4-CEC3-49C2-A16F-E052A3E85A45}" dt="2020-03-20T00:36:29.400" v="13062" actId="21"/>
          <ac:spMkLst>
            <pc:docMk/>
            <pc:sldMk cId="1064848225" sldId="595"/>
            <ac:spMk id="6" creationId="{637E159C-9ACF-48AE-927A-D5FB13695C7F}"/>
          </ac:spMkLst>
        </pc:spChg>
      </pc:sldChg>
      <pc:sldChg chg="modSp mod">
        <pc:chgData name="Sam Mesel" userId="1ee7badb-5d1f-4872-89ae-dcf7b71f276a" providerId="ADAL" clId="{53886FC4-CEC3-49C2-A16F-E052A3E85A45}" dt="2020-03-20T19:20:55.453" v="16005" actId="12"/>
        <pc:sldMkLst>
          <pc:docMk/>
          <pc:sldMk cId="1274964080" sldId="596"/>
        </pc:sldMkLst>
        <pc:spChg chg="mod">
          <ac:chgData name="Sam Mesel" userId="1ee7badb-5d1f-4872-89ae-dcf7b71f276a" providerId="ADAL" clId="{53886FC4-CEC3-49C2-A16F-E052A3E85A45}" dt="2020-03-20T19:20:52.453" v="16004" actId="108"/>
          <ac:spMkLst>
            <pc:docMk/>
            <pc:sldMk cId="1274964080" sldId="596"/>
            <ac:spMk id="2" creationId="{BC57B38C-8413-4861-A4F5-7DF656AEAD0D}"/>
          </ac:spMkLst>
        </pc:spChg>
        <pc:spChg chg="mod">
          <ac:chgData name="Sam Mesel" userId="1ee7badb-5d1f-4872-89ae-dcf7b71f276a" providerId="ADAL" clId="{53886FC4-CEC3-49C2-A16F-E052A3E85A45}" dt="2020-03-20T19:20:55.453" v="16005" actId="12"/>
          <ac:spMkLst>
            <pc:docMk/>
            <pc:sldMk cId="1274964080" sldId="596"/>
            <ac:spMk id="3" creationId="{4897B8F8-26DF-42FB-ACB0-59929F1C2344}"/>
          </ac:spMkLst>
        </pc:spChg>
      </pc:sldChg>
      <pc:sldChg chg="modSp modNotesTx">
        <pc:chgData name="Sam Mesel" userId="1ee7badb-5d1f-4872-89ae-dcf7b71f276a" providerId="ADAL" clId="{53886FC4-CEC3-49C2-A16F-E052A3E85A45}" dt="2020-03-19T22:04:37.585" v="13032" actId="20577"/>
        <pc:sldMkLst>
          <pc:docMk/>
          <pc:sldMk cId="1731718220" sldId="598"/>
        </pc:sldMkLst>
        <pc:graphicFrameChg chg="mod">
          <ac:chgData name="Sam Mesel" userId="1ee7badb-5d1f-4872-89ae-dcf7b71f276a" providerId="ADAL" clId="{53886FC4-CEC3-49C2-A16F-E052A3E85A45}" dt="2020-03-19T22:00:29.810" v="12734" actId="20577"/>
          <ac:graphicFrameMkLst>
            <pc:docMk/>
            <pc:sldMk cId="1731718220" sldId="598"/>
            <ac:graphicFrameMk id="3" creationId="{9484E1FE-7534-495E-863C-657A46F5E628}"/>
          </ac:graphicFrameMkLst>
        </pc:graphicFrameChg>
      </pc:sldChg>
      <pc:sldChg chg="del">
        <pc:chgData name="Sam Mesel" userId="1ee7badb-5d1f-4872-89ae-dcf7b71f276a" providerId="ADAL" clId="{53886FC4-CEC3-49C2-A16F-E052A3E85A45}" dt="2020-03-19T20:50:09.094" v="9442" actId="47"/>
        <pc:sldMkLst>
          <pc:docMk/>
          <pc:sldMk cId="1346441633" sldId="604"/>
        </pc:sldMkLst>
      </pc:sldChg>
      <pc:sldChg chg="modSp mod">
        <pc:chgData name="Sam Mesel" userId="1ee7badb-5d1f-4872-89ae-dcf7b71f276a" providerId="ADAL" clId="{53886FC4-CEC3-49C2-A16F-E052A3E85A45}" dt="2020-03-04T17:37:00.599" v="44" actId="108"/>
        <pc:sldMkLst>
          <pc:docMk/>
          <pc:sldMk cId="2390424317" sldId="606"/>
        </pc:sldMkLst>
        <pc:spChg chg="mod">
          <ac:chgData name="Sam Mesel" userId="1ee7badb-5d1f-4872-89ae-dcf7b71f276a" providerId="ADAL" clId="{53886FC4-CEC3-49C2-A16F-E052A3E85A45}" dt="2020-03-04T17:37:00.599" v="44" actId="108"/>
          <ac:spMkLst>
            <pc:docMk/>
            <pc:sldMk cId="2390424317" sldId="606"/>
            <ac:spMk id="3" creationId="{F35E8CBB-5A7D-4DEF-BAF7-8DD5D042F9E0}"/>
          </ac:spMkLst>
        </pc:spChg>
      </pc:sldChg>
      <pc:sldChg chg="modSp mod modNotesTx">
        <pc:chgData name="Sam Mesel" userId="1ee7badb-5d1f-4872-89ae-dcf7b71f276a" providerId="ADAL" clId="{53886FC4-CEC3-49C2-A16F-E052A3E85A45}" dt="2020-03-04T17:04:27.986" v="41" actId="207"/>
        <pc:sldMkLst>
          <pc:docMk/>
          <pc:sldMk cId="1325009333" sldId="607"/>
        </pc:sldMkLst>
        <pc:spChg chg="mod">
          <ac:chgData name="Sam Mesel" userId="1ee7badb-5d1f-4872-89ae-dcf7b71f276a" providerId="ADAL" clId="{53886FC4-CEC3-49C2-A16F-E052A3E85A45}" dt="2020-03-04T17:00:03.689" v="20" actId="1076"/>
          <ac:spMkLst>
            <pc:docMk/>
            <pc:sldMk cId="1325009333" sldId="607"/>
            <ac:spMk id="3" creationId="{F35E8CBB-5A7D-4DEF-BAF7-8DD5D042F9E0}"/>
          </ac:spMkLst>
        </pc:spChg>
        <pc:graphicFrameChg chg="mod">
          <ac:chgData name="Sam Mesel" userId="1ee7badb-5d1f-4872-89ae-dcf7b71f276a" providerId="ADAL" clId="{53886FC4-CEC3-49C2-A16F-E052A3E85A45}" dt="2020-03-04T17:00:20.924" v="26" actId="20577"/>
          <ac:graphicFrameMkLst>
            <pc:docMk/>
            <pc:sldMk cId="1325009333" sldId="607"/>
            <ac:graphicFrameMk id="16" creationId="{93C23775-6963-43D2-A76C-D134C16F4E3C}"/>
          </ac:graphicFrameMkLst>
        </pc:graphicFrameChg>
        <pc:picChg chg="mod">
          <ac:chgData name="Sam Mesel" userId="1ee7badb-5d1f-4872-89ae-dcf7b71f276a" providerId="ADAL" clId="{53886FC4-CEC3-49C2-A16F-E052A3E85A45}" dt="2020-03-04T17:00:10.787" v="21" actId="1076"/>
          <ac:picMkLst>
            <pc:docMk/>
            <pc:sldMk cId="1325009333" sldId="607"/>
            <ac:picMk id="50" creationId="{81EB01C7-33B2-4DAA-974D-9C05141497B1}"/>
          </ac:picMkLst>
        </pc:picChg>
      </pc:sldChg>
      <pc:sldChg chg="modSp modNotes">
        <pc:chgData name="Sam Mesel" userId="1ee7badb-5d1f-4872-89ae-dcf7b71f276a" providerId="ADAL" clId="{53886FC4-CEC3-49C2-A16F-E052A3E85A45}" dt="2020-03-04T20:12:49.245" v="369"/>
        <pc:sldMkLst>
          <pc:docMk/>
          <pc:sldMk cId="442293443" sldId="608"/>
        </pc:sldMkLst>
        <pc:graphicFrameChg chg="mod">
          <ac:chgData name="Sam Mesel" userId="1ee7badb-5d1f-4872-89ae-dcf7b71f276a" providerId="ADAL" clId="{53886FC4-CEC3-49C2-A16F-E052A3E85A45}" dt="2020-03-04T17:59:58.657" v="323" actId="20577"/>
          <ac:graphicFrameMkLst>
            <pc:docMk/>
            <pc:sldMk cId="442293443" sldId="608"/>
            <ac:graphicFrameMk id="7" creationId="{CF7C7A3B-A65D-40B2-92A1-6E44F518C1B2}"/>
          </ac:graphicFrameMkLst>
        </pc:graphicFrameChg>
      </pc:sldChg>
      <pc:sldChg chg="modSp modNotes modNotesTx">
        <pc:chgData name="Sam Mesel" userId="1ee7badb-5d1f-4872-89ae-dcf7b71f276a" providerId="ADAL" clId="{53886FC4-CEC3-49C2-A16F-E052A3E85A45}" dt="2020-03-04T20:13:15.624" v="380" actId="20577"/>
        <pc:sldMkLst>
          <pc:docMk/>
          <pc:sldMk cId="2729675242" sldId="611"/>
        </pc:sldMkLst>
        <pc:graphicFrameChg chg="mod">
          <ac:chgData name="Sam Mesel" userId="1ee7badb-5d1f-4872-89ae-dcf7b71f276a" providerId="ADAL" clId="{53886FC4-CEC3-49C2-A16F-E052A3E85A45}" dt="2020-03-04T20:11:27.528" v="368" actId="20577"/>
          <ac:graphicFrameMkLst>
            <pc:docMk/>
            <pc:sldMk cId="2729675242" sldId="611"/>
            <ac:graphicFrameMk id="14" creationId="{5A678193-540D-4760-9964-3541B6B737B9}"/>
          </ac:graphicFrameMkLst>
        </pc:graphicFrameChg>
      </pc:sldChg>
      <pc:sldChg chg="modSp mod">
        <pc:chgData name="Sam Mesel" userId="1ee7badb-5d1f-4872-89ae-dcf7b71f276a" providerId="ADAL" clId="{53886FC4-CEC3-49C2-A16F-E052A3E85A45}" dt="2020-03-04T20:26:13.349" v="382" actId="6549"/>
        <pc:sldMkLst>
          <pc:docMk/>
          <pc:sldMk cId="3301692604" sldId="616"/>
        </pc:sldMkLst>
        <pc:spChg chg="mod">
          <ac:chgData name="Sam Mesel" userId="1ee7badb-5d1f-4872-89ae-dcf7b71f276a" providerId="ADAL" clId="{53886FC4-CEC3-49C2-A16F-E052A3E85A45}" dt="2020-03-04T20:26:13.349" v="382" actId="6549"/>
          <ac:spMkLst>
            <pc:docMk/>
            <pc:sldMk cId="3301692604" sldId="616"/>
            <ac:spMk id="8" creationId="{A1A983F2-5871-48C1-95D4-E5D9ADD59778}"/>
          </ac:spMkLst>
        </pc:spChg>
      </pc:sldChg>
      <pc:sldChg chg="modSp mod">
        <pc:chgData name="Sam Mesel" userId="1ee7badb-5d1f-4872-89ae-dcf7b71f276a" providerId="ADAL" clId="{53886FC4-CEC3-49C2-A16F-E052A3E85A45}" dt="2020-03-04T20:14:05.750" v="381" actId="6549"/>
        <pc:sldMkLst>
          <pc:docMk/>
          <pc:sldMk cId="3117416934" sldId="620"/>
        </pc:sldMkLst>
        <pc:spChg chg="mod">
          <ac:chgData name="Sam Mesel" userId="1ee7badb-5d1f-4872-89ae-dcf7b71f276a" providerId="ADAL" clId="{53886FC4-CEC3-49C2-A16F-E052A3E85A45}" dt="2020-03-04T20:14:05.750" v="381" actId="6549"/>
          <ac:spMkLst>
            <pc:docMk/>
            <pc:sldMk cId="3117416934" sldId="620"/>
            <ac:spMk id="6" creationId="{637E159C-9ACF-48AE-927A-D5FB13695C7F}"/>
          </ac:spMkLst>
        </pc:spChg>
      </pc:sldChg>
      <pc:sldChg chg="modSp mod">
        <pc:chgData name="Sam Mesel" userId="1ee7badb-5d1f-4872-89ae-dcf7b71f276a" providerId="ADAL" clId="{53886FC4-CEC3-49C2-A16F-E052A3E85A45}" dt="2020-03-04T20:33:46.487" v="443" actId="122"/>
        <pc:sldMkLst>
          <pc:docMk/>
          <pc:sldMk cId="4187810366" sldId="622"/>
        </pc:sldMkLst>
        <pc:graphicFrameChg chg="modGraphic">
          <ac:chgData name="Sam Mesel" userId="1ee7badb-5d1f-4872-89ae-dcf7b71f276a" providerId="ADAL" clId="{53886FC4-CEC3-49C2-A16F-E052A3E85A45}" dt="2020-03-04T20:33:46.487" v="443" actId="122"/>
          <ac:graphicFrameMkLst>
            <pc:docMk/>
            <pc:sldMk cId="4187810366" sldId="622"/>
            <ac:graphicFrameMk id="7" creationId="{FBCEAB35-8B70-4C96-9DA5-8813406D2B2C}"/>
          </ac:graphicFrameMkLst>
        </pc:graphicFrameChg>
      </pc:sldChg>
      <pc:sldChg chg="modSp mod">
        <pc:chgData name="Sam Mesel" userId="1ee7badb-5d1f-4872-89ae-dcf7b71f276a" providerId="ADAL" clId="{53886FC4-CEC3-49C2-A16F-E052A3E85A45}" dt="2020-03-04T20:55:21.912" v="598" actId="20577"/>
        <pc:sldMkLst>
          <pc:docMk/>
          <pc:sldMk cId="1318002608" sldId="623"/>
        </pc:sldMkLst>
        <pc:spChg chg="mod">
          <ac:chgData name="Sam Mesel" userId="1ee7badb-5d1f-4872-89ae-dcf7b71f276a" providerId="ADAL" clId="{53886FC4-CEC3-49C2-A16F-E052A3E85A45}" dt="2020-03-04T20:54:37.069" v="565" actId="20577"/>
          <ac:spMkLst>
            <pc:docMk/>
            <pc:sldMk cId="1318002608" sldId="623"/>
            <ac:spMk id="2" creationId="{EB67312A-9819-43C6-8D84-D9136E6CFFCC}"/>
          </ac:spMkLst>
        </pc:spChg>
        <pc:graphicFrameChg chg="mod">
          <ac:chgData name="Sam Mesel" userId="1ee7badb-5d1f-4872-89ae-dcf7b71f276a" providerId="ADAL" clId="{53886FC4-CEC3-49C2-A16F-E052A3E85A45}" dt="2020-03-04T20:55:21.912" v="598" actId="20577"/>
          <ac:graphicFrameMkLst>
            <pc:docMk/>
            <pc:sldMk cId="1318002608" sldId="623"/>
            <ac:graphicFrameMk id="6" creationId="{FE39FBFC-2347-4F5C-9A5B-6BC4070C7FFE}"/>
          </ac:graphicFrameMkLst>
        </pc:graphicFrameChg>
      </pc:sldChg>
      <pc:sldChg chg="modSp">
        <pc:chgData name="Sam Mesel" userId="1ee7badb-5d1f-4872-89ae-dcf7b71f276a" providerId="ADAL" clId="{53886FC4-CEC3-49C2-A16F-E052A3E85A45}" dt="2020-03-04T21:01:19.415" v="602" actId="20577"/>
        <pc:sldMkLst>
          <pc:docMk/>
          <pc:sldMk cId="3250101842" sldId="625"/>
        </pc:sldMkLst>
        <pc:graphicFrameChg chg="mod">
          <ac:chgData name="Sam Mesel" userId="1ee7badb-5d1f-4872-89ae-dcf7b71f276a" providerId="ADAL" clId="{53886FC4-CEC3-49C2-A16F-E052A3E85A45}" dt="2020-03-04T21:01:19.415" v="602" actId="20577"/>
          <ac:graphicFrameMkLst>
            <pc:docMk/>
            <pc:sldMk cId="3250101842" sldId="625"/>
            <ac:graphicFrameMk id="5" creationId="{5D7438D8-5693-4DB1-95DC-55A0C8D2FCF2}"/>
          </ac:graphicFrameMkLst>
        </pc:graphicFrameChg>
      </pc:sldChg>
      <pc:sldChg chg="modSp mod">
        <pc:chgData name="Sam Mesel" userId="1ee7badb-5d1f-4872-89ae-dcf7b71f276a" providerId="ADAL" clId="{53886FC4-CEC3-49C2-A16F-E052A3E85A45}" dt="2020-03-04T21:10:32.664" v="610" actId="6549"/>
        <pc:sldMkLst>
          <pc:docMk/>
          <pc:sldMk cId="2095964457" sldId="627"/>
        </pc:sldMkLst>
        <pc:spChg chg="mod">
          <ac:chgData name="Sam Mesel" userId="1ee7badb-5d1f-4872-89ae-dcf7b71f276a" providerId="ADAL" clId="{53886FC4-CEC3-49C2-A16F-E052A3E85A45}" dt="2020-03-04T21:10:32.664" v="610" actId="6549"/>
          <ac:spMkLst>
            <pc:docMk/>
            <pc:sldMk cId="2095964457" sldId="627"/>
            <ac:spMk id="2" creationId="{EB67312A-9819-43C6-8D84-D9136E6CFFCC}"/>
          </ac:spMkLst>
        </pc:spChg>
        <pc:graphicFrameChg chg="mod">
          <ac:chgData name="Sam Mesel" userId="1ee7badb-5d1f-4872-89ae-dcf7b71f276a" providerId="ADAL" clId="{53886FC4-CEC3-49C2-A16F-E052A3E85A45}" dt="2020-03-04T21:10:08.625" v="606" actId="20577"/>
          <ac:graphicFrameMkLst>
            <pc:docMk/>
            <pc:sldMk cId="2095964457" sldId="627"/>
            <ac:graphicFrameMk id="7" creationId="{1178B55D-984E-41D0-A9BA-E9D52330A210}"/>
          </ac:graphicFrameMkLst>
        </pc:graphicFrameChg>
      </pc:sldChg>
      <pc:sldChg chg="delSp modSp mod">
        <pc:chgData name="Sam Mesel" userId="1ee7badb-5d1f-4872-89ae-dcf7b71f276a" providerId="ADAL" clId="{53886FC4-CEC3-49C2-A16F-E052A3E85A45}" dt="2020-03-04T21:28:09.010" v="647" actId="478"/>
        <pc:sldMkLst>
          <pc:docMk/>
          <pc:sldMk cId="1324540104" sldId="629"/>
        </pc:sldMkLst>
        <pc:spChg chg="mod">
          <ac:chgData name="Sam Mesel" userId="1ee7badb-5d1f-4872-89ae-dcf7b71f276a" providerId="ADAL" clId="{53886FC4-CEC3-49C2-A16F-E052A3E85A45}" dt="2020-03-04T21:27:54.897" v="645" actId="6549"/>
          <ac:spMkLst>
            <pc:docMk/>
            <pc:sldMk cId="1324540104" sldId="629"/>
            <ac:spMk id="2" creationId="{EB67312A-9819-43C6-8D84-D9136E6CFFCC}"/>
          </ac:spMkLst>
        </pc:spChg>
        <pc:grpChg chg="del">
          <ac:chgData name="Sam Mesel" userId="1ee7badb-5d1f-4872-89ae-dcf7b71f276a" providerId="ADAL" clId="{53886FC4-CEC3-49C2-A16F-E052A3E85A45}" dt="2020-03-04T21:28:09.010" v="647" actId="478"/>
          <ac:grpSpMkLst>
            <pc:docMk/>
            <pc:sldMk cId="1324540104" sldId="629"/>
            <ac:grpSpMk id="12" creationId="{2584858B-A28D-4297-9168-CADBAAF75F05}"/>
          </ac:grpSpMkLst>
        </pc:grpChg>
        <pc:graphicFrameChg chg="mod">
          <ac:chgData name="Sam Mesel" userId="1ee7badb-5d1f-4872-89ae-dcf7b71f276a" providerId="ADAL" clId="{53886FC4-CEC3-49C2-A16F-E052A3E85A45}" dt="2020-03-04T21:28:04.462" v="646" actId="20577"/>
          <ac:graphicFrameMkLst>
            <pc:docMk/>
            <pc:sldMk cId="1324540104" sldId="629"/>
            <ac:graphicFrameMk id="5" creationId="{09EAD516-1026-4FE2-95B8-45F49E2A26BC}"/>
          </ac:graphicFrameMkLst>
        </pc:graphicFrameChg>
      </pc:sldChg>
      <pc:sldChg chg="modSp">
        <pc:chgData name="Sam Mesel" userId="1ee7badb-5d1f-4872-89ae-dcf7b71f276a" providerId="ADAL" clId="{53886FC4-CEC3-49C2-A16F-E052A3E85A45}" dt="2020-03-04T23:08:39.310" v="1379" actId="113"/>
        <pc:sldMkLst>
          <pc:docMk/>
          <pc:sldMk cId="732669774" sldId="639"/>
        </pc:sldMkLst>
        <pc:graphicFrameChg chg="mod">
          <ac:chgData name="Sam Mesel" userId="1ee7badb-5d1f-4872-89ae-dcf7b71f276a" providerId="ADAL" clId="{53886FC4-CEC3-49C2-A16F-E052A3E85A45}" dt="2020-03-04T23:08:39.310" v="1379" actId="113"/>
          <ac:graphicFrameMkLst>
            <pc:docMk/>
            <pc:sldMk cId="732669774" sldId="639"/>
            <ac:graphicFrameMk id="5" creationId="{09902D76-AF24-4822-BD55-215875E1D268}"/>
          </ac:graphicFrameMkLst>
        </pc:graphicFrameChg>
      </pc:sldChg>
      <pc:sldChg chg="modNotesTx">
        <pc:chgData name="Sam Mesel" userId="1ee7badb-5d1f-4872-89ae-dcf7b71f276a" providerId="ADAL" clId="{53886FC4-CEC3-49C2-A16F-E052A3E85A45}" dt="2020-03-04T23:10:34.634" v="1380" actId="20577"/>
        <pc:sldMkLst>
          <pc:docMk/>
          <pc:sldMk cId="3930368789" sldId="640"/>
        </pc:sldMkLst>
      </pc:sldChg>
      <pc:sldChg chg="addSp delSp modSp mod modNotes">
        <pc:chgData name="Sam Mesel" userId="1ee7badb-5d1f-4872-89ae-dcf7b71f276a" providerId="ADAL" clId="{53886FC4-CEC3-49C2-A16F-E052A3E85A45}" dt="2020-03-04T23:13:02.703" v="1424" actId="1076"/>
        <pc:sldMkLst>
          <pc:docMk/>
          <pc:sldMk cId="172937384" sldId="641"/>
        </pc:sldMkLst>
        <pc:spChg chg="del">
          <ac:chgData name="Sam Mesel" userId="1ee7badb-5d1f-4872-89ae-dcf7b71f276a" providerId="ADAL" clId="{53886FC4-CEC3-49C2-A16F-E052A3E85A45}" dt="2020-03-04T23:12:06.237" v="1381" actId="12084"/>
          <ac:spMkLst>
            <pc:docMk/>
            <pc:sldMk cId="172937384" sldId="641"/>
            <ac:spMk id="4" creationId="{F3616A99-090F-45E1-9334-58D58B148205}"/>
          </ac:spMkLst>
        </pc:spChg>
        <pc:spChg chg="mod">
          <ac:chgData name="Sam Mesel" userId="1ee7badb-5d1f-4872-89ae-dcf7b71f276a" providerId="ADAL" clId="{53886FC4-CEC3-49C2-A16F-E052A3E85A45}" dt="2020-03-04T23:13:02.703" v="1424" actId="1076"/>
          <ac:spMkLst>
            <pc:docMk/>
            <pc:sldMk cId="172937384" sldId="641"/>
            <ac:spMk id="5" creationId="{6CB2FA83-0DB2-4D69-AEAC-E1C657B6D68D}"/>
          </ac:spMkLst>
        </pc:spChg>
        <pc:graphicFrameChg chg="add mod">
          <ac:chgData name="Sam Mesel" userId="1ee7badb-5d1f-4872-89ae-dcf7b71f276a" providerId="ADAL" clId="{53886FC4-CEC3-49C2-A16F-E052A3E85A45}" dt="2020-03-04T23:12:39.167" v="1421" actId="14100"/>
          <ac:graphicFrameMkLst>
            <pc:docMk/>
            <pc:sldMk cId="172937384" sldId="641"/>
            <ac:graphicFrameMk id="6" creationId="{18B894D6-E22E-4CFC-A540-F16B2A407F36}"/>
          </ac:graphicFrameMkLst>
        </pc:graphicFrameChg>
      </pc:sldChg>
      <pc:sldChg chg="modSp mod">
        <pc:chgData name="Sam Mesel" userId="1ee7badb-5d1f-4872-89ae-dcf7b71f276a" providerId="ADAL" clId="{53886FC4-CEC3-49C2-A16F-E052A3E85A45}" dt="2020-03-04T23:13:53.201" v="1442" actId="20577"/>
        <pc:sldMkLst>
          <pc:docMk/>
          <pc:sldMk cId="3714785798" sldId="642"/>
        </pc:sldMkLst>
        <pc:spChg chg="mod">
          <ac:chgData name="Sam Mesel" userId="1ee7badb-5d1f-4872-89ae-dcf7b71f276a" providerId="ADAL" clId="{53886FC4-CEC3-49C2-A16F-E052A3E85A45}" dt="2020-03-04T23:13:53.201" v="1442" actId="20577"/>
          <ac:spMkLst>
            <pc:docMk/>
            <pc:sldMk cId="3714785798" sldId="642"/>
            <ac:spMk id="2" creationId="{EB67312A-9819-43C6-8D84-D9136E6CFFCC}"/>
          </ac:spMkLst>
        </pc:spChg>
      </pc:sldChg>
      <pc:sldChg chg="modSp">
        <pc:chgData name="Sam Mesel" userId="1ee7badb-5d1f-4872-89ae-dcf7b71f276a" providerId="ADAL" clId="{53886FC4-CEC3-49C2-A16F-E052A3E85A45}" dt="2020-03-04T23:14:33.530" v="1447" actId="20577"/>
        <pc:sldMkLst>
          <pc:docMk/>
          <pc:sldMk cId="1075660142" sldId="643"/>
        </pc:sldMkLst>
        <pc:graphicFrameChg chg="mod">
          <ac:chgData name="Sam Mesel" userId="1ee7badb-5d1f-4872-89ae-dcf7b71f276a" providerId="ADAL" clId="{53886FC4-CEC3-49C2-A16F-E052A3E85A45}" dt="2020-03-04T23:14:33.530" v="1447" actId="20577"/>
          <ac:graphicFrameMkLst>
            <pc:docMk/>
            <pc:sldMk cId="1075660142" sldId="643"/>
            <ac:graphicFrameMk id="8" creationId="{E5E48B91-45DE-435E-93ED-AA586BA87830}"/>
          </ac:graphicFrameMkLst>
        </pc:graphicFrameChg>
      </pc:sldChg>
      <pc:sldChg chg="modSp">
        <pc:chgData name="Sam Mesel" userId="1ee7badb-5d1f-4872-89ae-dcf7b71f276a" providerId="ADAL" clId="{53886FC4-CEC3-49C2-A16F-E052A3E85A45}" dt="2020-03-04T23:31:46.326" v="1601" actId="20577"/>
        <pc:sldMkLst>
          <pc:docMk/>
          <pc:sldMk cId="3559491282" sldId="644"/>
        </pc:sldMkLst>
        <pc:graphicFrameChg chg="mod">
          <ac:chgData name="Sam Mesel" userId="1ee7badb-5d1f-4872-89ae-dcf7b71f276a" providerId="ADAL" clId="{53886FC4-CEC3-49C2-A16F-E052A3E85A45}" dt="2020-03-04T23:31:46.326" v="1601" actId="20577"/>
          <ac:graphicFrameMkLst>
            <pc:docMk/>
            <pc:sldMk cId="3559491282" sldId="644"/>
            <ac:graphicFrameMk id="5" creationId="{245B2B36-0B74-4B3E-B10A-918A3616B657}"/>
          </ac:graphicFrameMkLst>
        </pc:graphicFrameChg>
      </pc:sldChg>
      <pc:sldChg chg="modSp modNotes">
        <pc:chgData name="Sam Mesel" userId="1ee7badb-5d1f-4872-89ae-dcf7b71f276a" providerId="ADAL" clId="{53886FC4-CEC3-49C2-A16F-E052A3E85A45}" dt="2020-03-04T23:34:05.185" v="1606" actId="404"/>
        <pc:sldMkLst>
          <pc:docMk/>
          <pc:sldMk cId="3406017694" sldId="646"/>
        </pc:sldMkLst>
        <pc:graphicFrameChg chg="mod">
          <ac:chgData name="Sam Mesel" userId="1ee7badb-5d1f-4872-89ae-dcf7b71f276a" providerId="ADAL" clId="{53886FC4-CEC3-49C2-A16F-E052A3E85A45}" dt="2020-03-04T23:32:42.813" v="1604" actId="14100"/>
          <ac:graphicFrameMkLst>
            <pc:docMk/>
            <pc:sldMk cId="3406017694" sldId="646"/>
            <ac:graphicFrameMk id="5" creationId="{0EA1033C-4D7A-4C65-AD31-7C1B570F6AB6}"/>
          </ac:graphicFrameMkLst>
        </pc:graphicFrameChg>
        <pc:graphicFrameChg chg="mod">
          <ac:chgData name="Sam Mesel" userId="1ee7badb-5d1f-4872-89ae-dcf7b71f276a" providerId="ADAL" clId="{53886FC4-CEC3-49C2-A16F-E052A3E85A45}" dt="2020-03-04T23:34:05.185" v="1606" actId="404"/>
          <ac:graphicFrameMkLst>
            <pc:docMk/>
            <pc:sldMk cId="3406017694" sldId="646"/>
            <ac:graphicFrameMk id="6" creationId="{41AC8C61-B717-4C41-B581-C2B4D565FD9A}"/>
          </ac:graphicFrameMkLst>
        </pc:graphicFrameChg>
      </pc:sldChg>
      <pc:sldChg chg="modSp">
        <pc:chgData name="Sam Mesel" userId="1ee7badb-5d1f-4872-89ae-dcf7b71f276a" providerId="ADAL" clId="{53886FC4-CEC3-49C2-A16F-E052A3E85A45}" dt="2020-03-04T23:23:13.293" v="1486" actId="20577"/>
        <pc:sldMkLst>
          <pc:docMk/>
          <pc:sldMk cId="414429562" sldId="652"/>
        </pc:sldMkLst>
        <pc:graphicFrameChg chg="mod">
          <ac:chgData name="Sam Mesel" userId="1ee7badb-5d1f-4872-89ae-dcf7b71f276a" providerId="ADAL" clId="{53886FC4-CEC3-49C2-A16F-E052A3E85A45}" dt="2020-03-04T23:23:13.293" v="1486" actId="20577"/>
          <ac:graphicFrameMkLst>
            <pc:docMk/>
            <pc:sldMk cId="414429562" sldId="652"/>
            <ac:graphicFrameMk id="7" creationId="{8E814E8D-720B-47C9-8A1F-4441C2B85411}"/>
          </ac:graphicFrameMkLst>
        </pc:graphicFrameChg>
      </pc:sldChg>
      <pc:sldChg chg="modSp mod">
        <pc:chgData name="Sam Mesel" userId="1ee7badb-5d1f-4872-89ae-dcf7b71f276a" providerId="ADAL" clId="{53886FC4-CEC3-49C2-A16F-E052A3E85A45}" dt="2020-03-04T23:24:16.362" v="1511" actId="6549"/>
        <pc:sldMkLst>
          <pc:docMk/>
          <pc:sldMk cId="2508506295" sldId="653"/>
        </pc:sldMkLst>
        <pc:graphicFrameChg chg="modGraphic">
          <ac:chgData name="Sam Mesel" userId="1ee7badb-5d1f-4872-89ae-dcf7b71f276a" providerId="ADAL" clId="{53886FC4-CEC3-49C2-A16F-E052A3E85A45}" dt="2020-03-04T23:24:16.362" v="1511" actId="6549"/>
          <ac:graphicFrameMkLst>
            <pc:docMk/>
            <pc:sldMk cId="2508506295" sldId="653"/>
            <ac:graphicFrameMk id="10" creationId="{7FC218A8-88B5-4B09-9039-98226F89CDF8}"/>
          </ac:graphicFrameMkLst>
        </pc:graphicFrameChg>
      </pc:sldChg>
      <pc:sldChg chg="modSp mod">
        <pc:chgData name="Sam Mesel" userId="1ee7badb-5d1f-4872-89ae-dcf7b71f276a" providerId="ADAL" clId="{53886FC4-CEC3-49C2-A16F-E052A3E85A45}" dt="2020-03-04T23:27:55.055" v="1567" actId="14100"/>
        <pc:sldMkLst>
          <pc:docMk/>
          <pc:sldMk cId="2471988427" sldId="656"/>
        </pc:sldMkLst>
        <pc:spChg chg="mod">
          <ac:chgData name="Sam Mesel" userId="1ee7badb-5d1f-4872-89ae-dcf7b71f276a" providerId="ADAL" clId="{53886FC4-CEC3-49C2-A16F-E052A3E85A45}" dt="2020-03-04T23:25:03.418" v="1512" actId="207"/>
          <ac:spMkLst>
            <pc:docMk/>
            <pc:sldMk cId="2471988427" sldId="656"/>
            <ac:spMk id="2" creationId="{EB67312A-9819-43C6-8D84-D9136E6CFFCC}"/>
          </ac:spMkLst>
        </pc:spChg>
        <pc:spChg chg="mod">
          <ac:chgData name="Sam Mesel" userId="1ee7badb-5d1f-4872-89ae-dcf7b71f276a" providerId="ADAL" clId="{53886FC4-CEC3-49C2-A16F-E052A3E85A45}" dt="2020-03-04T23:27:04.346" v="1553" actId="14100"/>
          <ac:spMkLst>
            <pc:docMk/>
            <pc:sldMk cId="2471988427" sldId="656"/>
            <ac:spMk id="4" creationId="{F3616A99-090F-45E1-9334-58D58B148205}"/>
          </ac:spMkLst>
        </pc:spChg>
        <pc:spChg chg="mod">
          <ac:chgData name="Sam Mesel" userId="1ee7badb-5d1f-4872-89ae-dcf7b71f276a" providerId="ADAL" clId="{53886FC4-CEC3-49C2-A16F-E052A3E85A45}" dt="2020-03-04T23:27:55.055" v="1567" actId="14100"/>
          <ac:spMkLst>
            <pc:docMk/>
            <pc:sldMk cId="2471988427" sldId="656"/>
            <ac:spMk id="6" creationId="{52A792B6-1B28-444F-8A7C-2727FAFF8B02}"/>
          </ac:spMkLst>
        </pc:spChg>
      </pc:sldChg>
      <pc:sldChg chg="modSp mod">
        <pc:chgData name="Sam Mesel" userId="1ee7badb-5d1f-4872-89ae-dcf7b71f276a" providerId="ADAL" clId="{53886FC4-CEC3-49C2-A16F-E052A3E85A45}" dt="2020-03-04T23:28:53.624" v="1600" actId="14100"/>
        <pc:sldMkLst>
          <pc:docMk/>
          <pc:sldMk cId="1683744399" sldId="657"/>
        </pc:sldMkLst>
        <pc:spChg chg="mod">
          <ac:chgData name="Sam Mesel" userId="1ee7badb-5d1f-4872-89ae-dcf7b71f276a" providerId="ADAL" clId="{53886FC4-CEC3-49C2-A16F-E052A3E85A45}" dt="2020-03-04T23:28:01.850" v="1568" actId="207"/>
          <ac:spMkLst>
            <pc:docMk/>
            <pc:sldMk cId="1683744399" sldId="657"/>
            <ac:spMk id="2" creationId="{EB67312A-9819-43C6-8D84-D9136E6CFFCC}"/>
          </ac:spMkLst>
        </pc:spChg>
        <pc:spChg chg="mod">
          <ac:chgData name="Sam Mesel" userId="1ee7badb-5d1f-4872-89ae-dcf7b71f276a" providerId="ADAL" clId="{53886FC4-CEC3-49C2-A16F-E052A3E85A45}" dt="2020-03-04T23:28:53.624" v="1600" actId="14100"/>
          <ac:spMkLst>
            <pc:docMk/>
            <pc:sldMk cId="1683744399" sldId="657"/>
            <ac:spMk id="6" creationId="{52A792B6-1B28-444F-8A7C-2727FAFF8B02}"/>
          </ac:spMkLst>
        </pc:spChg>
      </pc:sldChg>
      <pc:sldChg chg="modSp mod">
        <pc:chgData name="Sam Mesel" userId="1ee7badb-5d1f-4872-89ae-dcf7b71f276a" providerId="ADAL" clId="{53886FC4-CEC3-49C2-A16F-E052A3E85A45}" dt="2020-03-20T19:24:52.319" v="16036" actId="12"/>
        <pc:sldMkLst>
          <pc:docMk/>
          <pc:sldMk cId="1523160996" sldId="664"/>
        </pc:sldMkLst>
        <pc:spChg chg="mod">
          <ac:chgData name="Sam Mesel" userId="1ee7badb-5d1f-4872-89ae-dcf7b71f276a" providerId="ADAL" clId="{53886FC4-CEC3-49C2-A16F-E052A3E85A45}" dt="2020-03-20T19:22:14.979" v="16020" actId="108"/>
          <ac:spMkLst>
            <pc:docMk/>
            <pc:sldMk cId="1523160996" sldId="664"/>
            <ac:spMk id="2" creationId="{BC57B38C-8413-4861-A4F5-7DF656AEAD0D}"/>
          </ac:spMkLst>
        </pc:spChg>
        <pc:spChg chg="mod">
          <ac:chgData name="Sam Mesel" userId="1ee7badb-5d1f-4872-89ae-dcf7b71f276a" providerId="ADAL" clId="{53886FC4-CEC3-49C2-A16F-E052A3E85A45}" dt="2020-03-20T19:24:52.319" v="16036" actId="12"/>
          <ac:spMkLst>
            <pc:docMk/>
            <pc:sldMk cId="1523160996" sldId="664"/>
            <ac:spMk id="3" creationId="{4897B8F8-26DF-42FB-ACB0-59929F1C2344}"/>
          </ac:spMkLst>
        </pc:spChg>
      </pc:sldChg>
      <pc:sldChg chg="modSp add mod">
        <pc:chgData name="Sam Mesel" userId="1ee7badb-5d1f-4872-89ae-dcf7b71f276a" providerId="ADAL" clId="{53886FC4-CEC3-49C2-A16F-E052A3E85A45}" dt="2020-03-04T21:10:26.538" v="609" actId="6549"/>
        <pc:sldMkLst>
          <pc:docMk/>
          <pc:sldMk cId="1743105056" sldId="665"/>
        </pc:sldMkLst>
        <pc:spChg chg="mod">
          <ac:chgData name="Sam Mesel" userId="1ee7badb-5d1f-4872-89ae-dcf7b71f276a" providerId="ADAL" clId="{53886FC4-CEC3-49C2-A16F-E052A3E85A45}" dt="2020-03-04T21:10:26.538" v="609" actId="6549"/>
          <ac:spMkLst>
            <pc:docMk/>
            <pc:sldMk cId="1743105056" sldId="665"/>
            <ac:spMk id="2" creationId="{EB67312A-9819-43C6-8D84-D9136E6CFFCC}"/>
          </ac:spMkLst>
        </pc:spChg>
        <pc:graphicFrameChg chg="mod">
          <ac:chgData name="Sam Mesel" userId="1ee7badb-5d1f-4872-89ae-dcf7b71f276a" providerId="ADAL" clId="{53886FC4-CEC3-49C2-A16F-E052A3E85A45}" dt="2020-03-04T21:10:21.425" v="608" actId="20577"/>
          <ac:graphicFrameMkLst>
            <pc:docMk/>
            <pc:sldMk cId="1743105056" sldId="665"/>
            <ac:graphicFrameMk id="7" creationId="{1178B55D-984E-41D0-A9BA-E9D52330A210}"/>
          </ac:graphicFrameMkLst>
        </pc:graphicFrameChg>
      </pc:sldChg>
      <pc:sldChg chg="modSp add mod">
        <pc:chgData name="Sam Mesel" userId="1ee7badb-5d1f-4872-89ae-dcf7b71f276a" providerId="ADAL" clId="{53886FC4-CEC3-49C2-A16F-E052A3E85A45}" dt="2020-03-04T21:28:49.330" v="649" actId="20577"/>
        <pc:sldMkLst>
          <pc:docMk/>
          <pc:sldMk cId="3922378719" sldId="666"/>
        </pc:sldMkLst>
        <pc:spChg chg="mod">
          <ac:chgData name="Sam Mesel" userId="1ee7badb-5d1f-4872-89ae-dcf7b71f276a" providerId="ADAL" clId="{53886FC4-CEC3-49C2-A16F-E052A3E85A45}" dt="2020-03-04T21:28:42.812" v="648" actId="20577"/>
          <ac:spMkLst>
            <pc:docMk/>
            <pc:sldMk cId="3922378719" sldId="666"/>
            <ac:spMk id="2" creationId="{EB67312A-9819-43C6-8D84-D9136E6CFFCC}"/>
          </ac:spMkLst>
        </pc:spChg>
        <pc:graphicFrameChg chg="mod">
          <ac:chgData name="Sam Mesel" userId="1ee7badb-5d1f-4872-89ae-dcf7b71f276a" providerId="ADAL" clId="{53886FC4-CEC3-49C2-A16F-E052A3E85A45}" dt="2020-03-04T21:28:49.330" v="649" actId="20577"/>
          <ac:graphicFrameMkLst>
            <pc:docMk/>
            <pc:sldMk cId="3922378719" sldId="666"/>
            <ac:graphicFrameMk id="5" creationId="{09EAD516-1026-4FE2-95B8-45F49E2A26BC}"/>
          </ac:graphicFrameMkLst>
        </pc:graphicFrameChg>
      </pc:sldChg>
      <pc:sldChg chg="modSp add mod modNotesTx">
        <pc:chgData name="Sam Mesel" userId="1ee7badb-5d1f-4872-89ae-dcf7b71f276a" providerId="ADAL" clId="{53886FC4-CEC3-49C2-A16F-E052A3E85A45}" dt="2020-03-04T22:11:11.579" v="1033" actId="20577"/>
        <pc:sldMkLst>
          <pc:docMk/>
          <pc:sldMk cId="979826723" sldId="667"/>
        </pc:sldMkLst>
        <pc:spChg chg="mod">
          <ac:chgData name="Sam Mesel" userId="1ee7badb-5d1f-4872-89ae-dcf7b71f276a" providerId="ADAL" clId="{53886FC4-CEC3-49C2-A16F-E052A3E85A45}" dt="2020-03-04T22:10:12.212" v="1008" actId="20577"/>
          <ac:spMkLst>
            <pc:docMk/>
            <pc:sldMk cId="979826723" sldId="667"/>
            <ac:spMk id="2" creationId="{EB67312A-9819-43C6-8D84-D9136E6CFFCC}"/>
          </ac:spMkLst>
        </pc:spChg>
        <pc:spChg chg="mod">
          <ac:chgData name="Sam Mesel" userId="1ee7badb-5d1f-4872-89ae-dcf7b71f276a" providerId="ADAL" clId="{53886FC4-CEC3-49C2-A16F-E052A3E85A45}" dt="2020-03-04T22:10:15.793" v="1010" actId="27636"/>
          <ac:spMkLst>
            <pc:docMk/>
            <pc:sldMk cId="979826723" sldId="667"/>
            <ac:spMk id="3" creationId="{F35E8CBB-5A7D-4DEF-BAF7-8DD5D042F9E0}"/>
          </ac:spMkLst>
        </pc:spChg>
        <pc:graphicFrameChg chg="mod">
          <ac:chgData name="Sam Mesel" userId="1ee7badb-5d1f-4872-89ae-dcf7b71f276a" providerId="ADAL" clId="{53886FC4-CEC3-49C2-A16F-E052A3E85A45}" dt="2020-03-04T22:11:11.579" v="1033" actId="20577"/>
          <ac:graphicFrameMkLst>
            <pc:docMk/>
            <pc:sldMk cId="979826723" sldId="667"/>
            <ac:graphicFrameMk id="5" creationId="{1F83612F-0834-42B2-AA7B-98B8BAB0DB29}"/>
          </ac:graphicFrameMkLst>
        </pc:graphicFrameChg>
      </pc:sldChg>
      <pc:sldChg chg="add del">
        <pc:chgData name="Sam Mesel" userId="1ee7badb-5d1f-4872-89ae-dcf7b71f276a" providerId="ADAL" clId="{53886FC4-CEC3-49C2-A16F-E052A3E85A45}" dt="2020-03-04T22:12:50" v="1034" actId="2696"/>
        <pc:sldMkLst>
          <pc:docMk/>
          <pc:sldMk cId="739440823" sldId="668"/>
        </pc:sldMkLst>
      </pc:sldChg>
      <pc:sldChg chg="addSp delSp modSp add mod modNotesTx">
        <pc:chgData name="Sam Mesel" userId="1ee7badb-5d1f-4872-89ae-dcf7b71f276a" providerId="ADAL" clId="{53886FC4-CEC3-49C2-A16F-E052A3E85A45}" dt="2020-03-20T16:46:09.852" v="15578" actId="20577"/>
        <pc:sldMkLst>
          <pc:docMk/>
          <pc:sldMk cId="1985242486" sldId="669"/>
        </pc:sldMkLst>
        <pc:spChg chg="mod">
          <ac:chgData name="Sam Mesel" userId="1ee7badb-5d1f-4872-89ae-dcf7b71f276a" providerId="ADAL" clId="{53886FC4-CEC3-49C2-A16F-E052A3E85A45}" dt="2020-03-20T16:34:03.960" v="15039" actId="20577"/>
          <ac:spMkLst>
            <pc:docMk/>
            <pc:sldMk cId="1985242486" sldId="669"/>
            <ac:spMk id="2" creationId="{EB67312A-9819-43C6-8D84-D9136E6CFFCC}"/>
          </ac:spMkLst>
        </pc:spChg>
        <pc:spChg chg="mod">
          <ac:chgData name="Sam Mesel" userId="1ee7badb-5d1f-4872-89ae-dcf7b71f276a" providerId="ADAL" clId="{53886FC4-CEC3-49C2-A16F-E052A3E85A45}" dt="2020-03-20T16:44:07.534" v="15497" actId="14100"/>
          <ac:spMkLst>
            <pc:docMk/>
            <pc:sldMk cId="1985242486" sldId="669"/>
            <ac:spMk id="4" creationId="{F3616A99-090F-45E1-9334-58D58B148205}"/>
          </ac:spMkLst>
        </pc:spChg>
        <pc:spChg chg="add del mod">
          <ac:chgData name="Sam Mesel" userId="1ee7badb-5d1f-4872-89ae-dcf7b71f276a" providerId="ADAL" clId="{53886FC4-CEC3-49C2-A16F-E052A3E85A45}" dt="2020-03-20T16:44:34.248" v="15500" actId="12084"/>
          <ac:spMkLst>
            <pc:docMk/>
            <pc:sldMk cId="1985242486" sldId="669"/>
            <ac:spMk id="7" creationId="{DFE264C3-4A92-44EC-833E-408D396B849A}"/>
          </ac:spMkLst>
        </pc:spChg>
        <pc:spChg chg="add mod">
          <ac:chgData name="Sam Mesel" userId="1ee7badb-5d1f-4872-89ae-dcf7b71f276a" providerId="ADAL" clId="{53886FC4-CEC3-49C2-A16F-E052A3E85A45}" dt="2020-03-20T16:46:09.852" v="15578" actId="20577"/>
          <ac:spMkLst>
            <pc:docMk/>
            <pc:sldMk cId="1985242486" sldId="669"/>
            <ac:spMk id="9" creationId="{610DD977-6571-4E75-91F5-C5F710C78F56}"/>
          </ac:spMkLst>
        </pc:spChg>
        <pc:graphicFrameChg chg="add mod">
          <ac:chgData name="Sam Mesel" userId="1ee7badb-5d1f-4872-89ae-dcf7b71f276a" providerId="ADAL" clId="{53886FC4-CEC3-49C2-A16F-E052A3E85A45}" dt="2020-03-20T16:44:51.579" v="15504"/>
          <ac:graphicFrameMkLst>
            <pc:docMk/>
            <pc:sldMk cId="1985242486" sldId="669"/>
            <ac:graphicFrameMk id="5" creationId="{17C8480E-4A90-4F56-93A1-BC3A45EE117A}"/>
          </ac:graphicFrameMkLst>
        </pc:graphicFrameChg>
        <pc:graphicFrameChg chg="add del mod">
          <ac:chgData name="Sam Mesel" userId="1ee7badb-5d1f-4872-89ae-dcf7b71f276a" providerId="ADAL" clId="{53886FC4-CEC3-49C2-A16F-E052A3E85A45}" dt="2020-03-20T16:39:35.799" v="15316" actId="478"/>
          <ac:graphicFrameMkLst>
            <pc:docMk/>
            <pc:sldMk cId="1985242486" sldId="669"/>
            <ac:graphicFrameMk id="6" creationId="{ECD4F830-3F57-4416-97C9-3E857291381E}"/>
          </ac:graphicFrameMkLst>
        </pc:graphicFrameChg>
      </pc:sldChg>
      <pc:sldChg chg="addSp delSp modSp new mod">
        <pc:chgData name="Sam Mesel" userId="1ee7badb-5d1f-4872-89ae-dcf7b71f276a" providerId="ADAL" clId="{53886FC4-CEC3-49C2-A16F-E052A3E85A45}" dt="2020-03-19T15:34:09.747" v="5369" actId="20577"/>
        <pc:sldMkLst>
          <pc:docMk/>
          <pc:sldMk cId="555630791" sldId="670"/>
        </pc:sldMkLst>
        <pc:spChg chg="mod">
          <ac:chgData name="Sam Mesel" userId="1ee7badb-5d1f-4872-89ae-dcf7b71f276a" providerId="ADAL" clId="{53886FC4-CEC3-49C2-A16F-E052A3E85A45}" dt="2020-03-11T01:32:16.398" v="1955" actId="20577"/>
          <ac:spMkLst>
            <pc:docMk/>
            <pc:sldMk cId="555630791" sldId="670"/>
            <ac:spMk id="2" creationId="{23F20CDD-4226-4ADB-949D-67D9A9B704BA}"/>
          </ac:spMkLst>
        </pc:spChg>
        <pc:spChg chg="del mod">
          <ac:chgData name="Sam Mesel" userId="1ee7badb-5d1f-4872-89ae-dcf7b71f276a" providerId="ADAL" clId="{53886FC4-CEC3-49C2-A16F-E052A3E85A45}" dt="2020-03-11T01:33:24.246" v="1965" actId="12084"/>
          <ac:spMkLst>
            <pc:docMk/>
            <pc:sldMk cId="555630791" sldId="670"/>
            <ac:spMk id="4" creationId="{2C0FFE90-C414-4248-A2EA-E616DAA278A6}"/>
          </ac:spMkLst>
        </pc:spChg>
        <pc:graphicFrameChg chg="add mod">
          <ac:chgData name="Sam Mesel" userId="1ee7badb-5d1f-4872-89ae-dcf7b71f276a" providerId="ADAL" clId="{53886FC4-CEC3-49C2-A16F-E052A3E85A45}" dt="2020-03-19T15:34:09.747" v="5369" actId="20577"/>
          <ac:graphicFrameMkLst>
            <pc:docMk/>
            <pc:sldMk cId="555630791" sldId="670"/>
            <ac:graphicFrameMk id="5" creationId="{A0F8EEBB-1F60-49BA-B82D-D4F2B222B4C1}"/>
          </ac:graphicFrameMkLst>
        </pc:graphicFrameChg>
      </pc:sldChg>
      <pc:sldChg chg="addSp delSp modSp new mod modAnim modNotesTx">
        <pc:chgData name="Sam Mesel" userId="1ee7badb-5d1f-4872-89ae-dcf7b71f276a" providerId="ADAL" clId="{53886FC4-CEC3-49C2-A16F-E052A3E85A45}" dt="2020-03-11T01:57:13.373" v="2176" actId="6549"/>
        <pc:sldMkLst>
          <pc:docMk/>
          <pc:sldMk cId="2009854721" sldId="671"/>
        </pc:sldMkLst>
        <pc:spChg chg="mod">
          <ac:chgData name="Sam Mesel" userId="1ee7badb-5d1f-4872-89ae-dcf7b71f276a" providerId="ADAL" clId="{53886FC4-CEC3-49C2-A16F-E052A3E85A45}" dt="2020-03-11T01:35:41.367" v="2000" actId="20577"/>
          <ac:spMkLst>
            <pc:docMk/>
            <pc:sldMk cId="2009854721" sldId="671"/>
            <ac:spMk id="2" creationId="{67101A0D-3770-4FE2-ABBD-0B71D596ED17}"/>
          </ac:spMkLst>
        </pc:spChg>
        <pc:spChg chg="mod">
          <ac:chgData name="Sam Mesel" userId="1ee7badb-5d1f-4872-89ae-dcf7b71f276a" providerId="ADAL" clId="{53886FC4-CEC3-49C2-A16F-E052A3E85A45}" dt="2020-03-11T01:35:52.192" v="2015" actId="20577"/>
          <ac:spMkLst>
            <pc:docMk/>
            <pc:sldMk cId="2009854721" sldId="671"/>
            <ac:spMk id="3" creationId="{9BFF1A2D-0B17-4A09-BB6D-DA060432BA9F}"/>
          </ac:spMkLst>
        </pc:spChg>
        <pc:spChg chg="del">
          <ac:chgData name="Sam Mesel" userId="1ee7badb-5d1f-4872-89ae-dcf7b71f276a" providerId="ADAL" clId="{53886FC4-CEC3-49C2-A16F-E052A3E85A45}" dt="2020-03-11T01:36:31.820" v="2017" actId="478"/>
          <ac:spMkLst>
            <pc:docMk/>
            <pc:sldMk cId="2009854721" sldId="671"/>
            <ac:spMk id="4" creationId="{A1A98A24-4DAE-4F65-9EF2-394481D30F9E}"/>
          </ac:spMkLst>
        </pc:spChg>
        <pc:spChg chg="add del mod">
          <ac:chgData name="Sam Mesel" userId="1ee7badb-5d1f-4872-89ae-dcf7b71f276a" providerId="ADAL" clId="{53886FC4-CEC3-49C2-A16F-E052A3E85A45}" dt="2020-03-11T01:48:07.096" v="2125" actId="478"/>
          <ac:spMkLst>
            <pc:docMk/>
            <pc:sldMk cId="2009854721" sldId="671"/>
            <ac:spMk id="5" creationId="{FF61E869-34BF-4ED2-8BF1-3AF370F2FF8F}"/>
          </ac:spMkLst>
        </pc:spChg>
        <pc:spChg chg="add mod">
          <ac:chgData name="Sam Mesel" userId="1ee7badb-5d1f-4872-89ae-dcf7b71f276a" providerId="ADAL" clId="{53886FC4-CEC3-49C2-A16F-E052A3E85A45}" dt="2020-03-11T01:56:25.384" v="2167" actId="208"/>
          <ac:spMkLst>
            <pc:docMk/>
            <pc:sldMk cId="2009854721" sldId="671"/>
            <ac:spMk id="10" creationId="{BEAE5036-5B73-4AB6-8BBE-EFAAA250AA0A}"/>
          </ac:spMkLst>
        </pc:spChg>
        <pc:spChg chg="add mod">
          <ac:chgData name="Sam Mesel" userId="1ee7badb-5d1f-4872-89ae-dcf7b71f276a" providerId="ADAL" clId="{53886FC4-CEC3-49C2-A16F-E052A3E85A45}" dt="2020-03-11T01:56:36.350" v="2168" actId="208"/>
          <ac:spMkLst>
            <pc:docMk/>
            <pc:sldMk cId="2009854721" sldId="671"/>
            <ac:spMk id="11" creationId="{64EC70B1-7373-41AE-8941-5870E8726078}"/>
          </ac:spMkLst>
        </pc:spChg>
        <pc:spChg chg="add mod">
          <ac:chgData name="Sam Mesel" userId="1ee7badb-5d1f-4872-89ae-dcf7b71f276a" providerId="ADAL" clId="{53886FC4-CEC3-49C2-A16F-E052A3E85A45}" dt="2020-03-11T01:56:39.823" v="2169" actId="208"/>
          <ac:spMkLst>
            <pc:docMk/>
            <pc:sldMk cId="2009854721" sldId="671"/>
            <ac:spMk id="12" creationId="{C79AEE13-3B59-495D-BD81-B23304F4CD55}"/>
          </ac:spMkLst>
        </pc:spChg>
        <pc:spChg chg="add mod">
          <ac:chgData name="Sam Mesel" userId="1ee7badb-5d1f-4872-89ae-dcf7b71f276a" providerId="ADAL" clId="{53886FC4-CEC3-49C2-A16F-E052A3E85A45}" dt="2020-03-11T01:56:41.189" v="2170" actId="208"/>
          <ac:spMkLst>
            <pc:docMk/>
            <pc:sldMk cId="2009854721" sldId="671"/>
            <ac:spMk id="13" creationId="{D618A7E1-8627-4400-B7CB-216E45B56597}"/>
          </ac:spMkLst>
        </pc:spChg>
        <pc:spChg chg="add mod">
          <ac:chgData name="Sam Mesel" userId="1ee7badb-5d1f-4872-89ae-dcf7b71f276a" providerId="ADAL" clId="{53886FC4-CEC3-49C2-A16F-E052A3E85A45}" dt="2020-03-11T01:56:42.572" v="2171" actId="208"/>
          <ac:spMkLst>
            <pc:docMk/>
            <pc:sldMk cId="2009854721" sldId="671"/>
            <ac:spMk id="14" creationId="{96F34DC1-7EFC-4C4D-9F91-3710BE3F1A32}"/>
          </ac:spMkLst>
        </pc:spChg>
        <pc:spChg chg="add mod">
          <ac:chgData name="Sam Mesel" userId="1ee7badb-5d1f-4872-89ae-dcf7b71f276a" providerId="ADAL" clId="{53886FC4-CEC3-49C2-A16F-E052A3E85A45}" dt="2020-03-11T01:44:19.201" v="2095" actId="1035"/>
          <ac:spMkLst>
            <pc:docMk/>
            <pc:sldMk cId="2009854721" sldId="671"/>
            <ac:spMk id="15" creationId="{35A31094-A74F-4C90-90B6-91C67B338A7E}"/>
          </ac:spMkLst>
        </pc:spChg>
        <pc:spChg chg="add mod">
          <ac:chgData name="Sam Mesel" userId="1ee7badb-5d1f-4872-89ae-dcf7b71f276a" providerId="ADAL" clId="{53886FC4-CEC3-49C2-A16F-E052A3E85A45}" dt="2020-03-11T01:44:19.201" v="2095" actId="1035"/>
          <ac:spMkLst>
            <pc:docMk/>
            <pc:sldMk cId="2009854721" sldId="671"/>
            <ac:spMk id="16" creationId="{3EE8FDA4-A9C7-4E3A-B97F-D2C47C0000E8}"/>
          </ac:spMkLst>
        </pc:spChg>
        <pc:spChg chg="add mod">
          <ac:chgData name="Sam Mesel" userId="1ee7badb-5d1f-4872-89ae-dcf7b71f276a" providerId="ADAL" clId="{53886FC4-CEC3-49C2-A16F-E052A3E85A45}" dt="2020-03-11T01:44:19.201" v="2095" actId="1035"/>
          <ac:spMkLst>
            <pc:docMk/>
            <pc:sldMk cId="2009854721" sldId="671"/>
            <ac:spMk id="17" creationId="{6CF63192-0549-45E9-A24E-1AF3C9667184}"/>
          </ac:spMkLst>
        </pc:spChg>
        <pc:spChg chg="add mod">
          <ac:chgData name="Sam Mesel" userId="1ee7badb-5d1f-4872-89ae-dcf7b71f276a" providerId="ADAL" clId="{53886FC4-CEC3-49C2-A16F-E052A3E85A45}" dt="2020-03-11T01:44:19.201" v="2095" actId="1035"/>
          <ac:spMkLst>
            <pc:docMk/>
            <pc:sldMk cId="2009854721" sldId="671"/>
            <ac:spMk id="18" creationId="{7B496996-B25D-4396-B4E3-45F40174FC95}"/>
          </ac:spMkLst>
        </pc:spChg>
        <pc:spChg chg="add mod">
          <ac:chgData name="Sam Mesel" userId="1ee7badb-5d1f-4872-89ae-dcf7b71f276a" providerId="ADAL" clId="{53886FC4-CEC3-49C2-A16F-E052A3E85A45}" dt="2020-03-11T01:44:19.201" v="2095" actId="1035"/>
          <ac:spMkLst>
            <pc:docMk/>
            <pc:sldMk cId="2009854721" sldId="671"/>
            <ac:spMk id="19" creationId="{F682F5C8-2221-4BA7-9FE4-64EE7C4B708A}"/>
          </ac:spMkLst>
        </pc:spChg>
        <pc:spChg chg="add mod">
          <ac:chgData name="Sam Mesel" userId="1ee7badb-5d1f-4872-89ae-dcf7b71f276a" providerId="ADAL" clId="{53886FC4-CEC3-49C2-A16F-E052A3E85A45}" dt="2020-03-11T01:45:47.048" v="2109" actId="1076"/>
          <ac:spMkLst>
            <pc:docMk/>
            <pc:sldMk cId="2009854721" sldId="671"/>
            <ac:spMk id="20" creationId="{CC723D8F-4E9A-467D-A36B-852926598B69}"/>
          </ac:spMkLst>
        </pc:spChg>
        <pc:spChg chg="add mod">
          <ac:chgData name="Sam Mesel" userId="1ee7badb-5d1f-4872-89ae-dcf7b71f276a" providerId="ADAL" clId="{53886FC4-CEC3-49C2-A16F-E052A3E85A45}" dt="2020-03-11T01:52:36.143" v="2153" actId="113"/>
          <ac:spMkLst>
            <pc:docMk/>
            <pc:sldMk cId="2009854721" sldId="671"/>
            <ac:spMk id="21" creationId="{FCDB61BD-DE4A-40A9-A07E-364453B4D814}"/>
          </ac:spMkLst>
        </pc:spChg>
        <pc:spChg chg="add mod ord">
          <ac:chgData name="Sam Mesel" userId="1ee7badb-5d1f-4872-89ae-dcf7b71f276a" providerId="ADAL" clId="{53886FC4-CEC3-49C2-A16F-E052A3E85A45}" dt="2020-03-11T01:49:09.142" v="2126" actId="167"/>
          <ac:spMkLst>
            <pc:docMk/>
            <pc:sldMk cId="2009854721" sldId="671"/>
            <ac:spMk id="22" creationId="{A81E8590-A1FA-41EE-854E-D1CA97D051CE}"/>
          </ac:spMkLst>
        </pc:spChg>
        <pc:spChg chg="add mod ord">
          <ac:chgData name="Sam Mesel" userId="1ee7badb-5d1f-4872-89ae-dcf7b71f276a" providerId="ADAL" clId="{53886FC4-CEC3-49C2-A16F-E052A3E85A45}" dt="2020-03-11T01:49:13.416" v="2127" actId="167"/>
          <ac:spMkLst>
            <pc:docMk/>
            <pc:sldMk cId="2009854721" sldId="671"/>
            <ac:spMk id="23" creationId="{CCBE5F63-E7F5-418B-B1C5-1313AFD7FAC1}"/>
          </ac:spMkLst>
        </pc:spChg>
        <pc:spChg chg="add mod ord">
          <ac:chgData name="Sam Mesel" userId="1ee7badb-5d1f-4872-89ae-dcf7b71f276a" providerId="ADAL" clId="{53886FC4-CEC3-49C2-A16F-E052A3E85A45}" dt="2020-03-11T01:52:23.648" v="2151" actId="1076"/>
          <ac:spMkLst>
            <pc:docMk/>
            <pc:sldMk cId="2009854721" sldId="671"/>
            <ac:spMk id="24" creationId="{263610BF-9C6B-4387-9128-5135924AB098}"/>
          </ac:spMkLst>
        </pc:spChg>
        <pc:spChg chg="add mod">
          <ac:chgData name="Sam Mesel" userId="1ee7badb-5d1f-4872-89ae-dcf7b71f276a" providerId="ADAL" clId="{53886FC4-CEC3-49C2-A16F-E052A3E85A45}" dt="2020-03-11T01:52:53.760" v="2155" actId="14100"/>
          <ac:spMkLst>
            <pc:docMk/>
            <pc:sldMk cId="2009854721" sldId="671"/>
            <ac:spMk id="25" creationId="{3F5123BA-3D74-4516-ABCD-3239EC76359C}"/>
          </ac:spMkLst>
        </pc:spChg>
        <pc:graphicFrameChg chg="add mod modGraphic">
          <ac:chgData name="Sam Mesel" userId="1ee7badb-5d1f-4872-89ae-dcf7b71f276a" providerId="ADAL" clId="{53886FC4-CEC3-49C2-A16F-E052A3E85A45}" dt="2020-03-11T01:57:13.373" v="2176" actId="6549"/>
          <ac:graphicFrameMkLst>
            <pc:docMk/>
            <pc:sldMk cId="2009854721" sldId="671"/>
            <ac:graphicFrameMk id="6" creationId="{4EBEDD6E-AB5F-4B19-B6B2-2E65C58D0B95}"/>
          </ac:graphicFrameMkLst>
        </pc:graphicFrameChg>
        <pc:graphicFrameChg chg="add mod">
          <ac:chgData name="Sam Mesel" userId="1ee7badb-5d1f-4872-89ae-dcf7b71f276a" providerId="ADAL" clId="{53886FC4-CEC3-49C2-A16F-E052A3E85A45}" dt="2020-03-11T01:44:19.201" v="2095" actId="1035"/>
          <ac:graphicFrameMkLst>
            <pc:docMk/>
            <pc:sldMk cId="2009854721" sldId="671"/>
            <ac:graphicFrameMk id="7" creationId="{2897B2FC-C629-427F-98B0-D76DF508CF6D}"/>
          </ac:graphicFrameMkLst>
        </pc:graphicFrameChg>
        <pc:cxnChg chg="add mod">
          <ac:chgData name="Sam Mesel" userId="1ee7badb-5d1f-4872-89ae-dcf7b71f276a" providerId="ADAL" clId="{53886FC4-CEC3-49C2-A16F-E052A3E85A45}" dt="2020-03-11T01:56:08.791" v="2166" actId="208"/>
          <ac:cxnSpMkLst>
            <pc:docMk/>
            <pc:sldMk cId="2009854721" sldId="671"/>
            <ac:cxnSpMk id="8" creationId="{7E6FBBE6-9C88-4FE8-9086-299105FAF527}"/>
          </ac:cxnSpMkLst>
        </pc:cxnChg>
        <pc:cxnChg chg="add mod">
          <ac:chgData name="Sam Mesel" userId="1ee7badb-5d1f-4872-89ae-dcf7b71f276a" providerId="ADAL" clId="{53886FC4-CEC3-49C2-A16F-E052A3E85A45}" dt="2020-03-11T01:56:04.125" v="2165" actId="208"/>
          <ac:cxnSpMkLst>
            <pc:docMk/>
            <pc:sldMk cId="2009854721" sldId="671"/>
            <ac:cxnSpMk id="9" creationId="{F8CEEFF4-3531-4A5F-A429-D4DCBFA4DC58}"/>
          </ac:cxnSpMkLst>
        </pc:cxnChg>
      </pc:sldChg>
      <pc:sldChg chg="addSp delSp modSp new mod modAnim modNotesTx">
        <pc:chgData name="Sam Mesel" userId="1ee7badb-5d1f-4872-89ae-dcf7b71f276a" providerId="ADAL" clId="{53886FC4-CEC3-49C2-A16F-E052A3E85A45}" dt="2020-03-20T16:28:59.762" v="14865" actId="20577"/>
        <pc:sldMkLst>
          <pc:docMk/>
          <pc:sldMk cId="1245107683" sldId="672"/>
        </pc:sldMkLst>
        <pc:spChg chg="mod">
          <ac:chgData name="Sam Mesel" userId="1ee7badb-5d1f-4872-89ae-dcf7b71f276a" providerId="ADAL" clId="{53886FC4-CEC3-49C2-A16F-E052A3E85A45}" dt="2020-03-11T01:58:00.614" v="2203" actId="20577"/>
          <ac:spMkLst>
            <pc:docMk/>
            <pc:sldMk cId="1245107683" sldId="672"/>
            <ac:spMk id="2" creationId="{87FD5DBD-8EA6-4E1C-9FCB-08CF68CB7D19}"/>
          </ac:spMkLst>
        </pc:spChg>
        <pc:spChg chg="mod">
          <ac:chgData name="Sam Mesel" userId="1ee7badb-5d1f-4872-89ae-dcf7b71f276a" providerId="ADAL" clId="{53886FC4-CEC3-49C2-A16F-E052A3E85A45}" dt="2020-03-11T01:58:05.672" v="2215" actId="20577"/>
          <ac:spMkLst>
            <pc:docMk/>
            <pc:sldMk cId="1245107683" sldId="672"/>
            <ac:spMk id="3" creationId="{6A13D7D5-C09D-4EDF-B1C8-CFD6B07A886E}"/>
          </ac:spMkLst>
        </pc:spChg>
        <pc:spChg chg="mod">
          <ac:chgData name="Sam Mesel" userId="1ee7badb-5d1f-4872-89ae-dcf7b71f276a" providerId="ADAL" clId="{53886FC4-CEC3-49C2-A16F-E052A3E85A45}" dt="2020-03-11T02:02:32.222" v="2232" actId="20577"/>
          <ac:spMkLst>
            <pc:docMk/>
            <pc:sldMk cId="1245107683" sldId="672"/>
            <ac:spMk id="4" creationId="{FA7CFD50-BFF3-47C2-8855-801016BEF7D5}"/>
          </ac:spMkLst>
        </pc:spChg>
        <pc:spChg chg="add del">
          <ac:chgData name="Sam Mesel" userId="1ee7badb-5d1f-4872-89ae-dcf7b71f276a" providerId="ADAL" clId="{53886FC4-CEC3-49C2-A16F-E052A3E85A45}" dt="2020-03-11T02:02:17.040" v="2226" actId="478"/>
          <ac:spMkLst>
            <pc:docMk/>
            <pc:sldMk cId="1245107683" sldId="672"/>
            <ac:spMk id="5" creationId="{4CAF2E86-6BD6-4CEE-9064-E3FBBD0420FC}"/>
          </ac:spMkLst>
        </pc:spChg>
        <pc:spChg chg="add">
          <ac:chgData name="Sam Mesel" userId="1ee7badb-5d1f-4872-89ae-dcf7b71f276a" providerId="ADAL" clId="{53886FC4-CEC3-49C2-A16F-E052A3E85A45}" dt="2020-03-11T02:00:10.873" v="2225"/>
          <ac:spMkLst>
            <pc:docMk/>
            <pc:sldMk cId="1245107683" sldId="672"/>
            <ac:spMk id="11" creationId="{381D6983-8B6F-4FAB-BB13-53B409A1D5BC}"/>
          </ac:spMkLst>
        </pc:spChg>
        <pc:spChg chg="add">
          <ac:chgData name="Sam Mesel" userId="1ee7badb-5d1f-4872-89ae-dcf7b71f276a" providerId="ADAL" clId="{53886FC4-CEC3-49C2-A16F-E052A3E85A45}" dt="2020-03-11T02:00:10.873" v="2225"/>
          <ac:spMkLst>
            <pc:docMk/>
            <pc:sldMk cId="1245107683" sldId="672"/>
            <ac:spMk id="12" creationId="{73402E29-9D39-4D2F-88A3-444420EB96CA}"/>
          </ac:spMkLst>
        </pc:spChg>
        <pc:spChg chg="add">
          <ac:chgData name="Sam Mesel" userId="1ee7badb-5d1f-4872-89ae-dcf7b71f276a" providerId="ADAL" clId="{53886FC4-CEC3-49C2-A16F-E052A3E85A45}" dt="2020-03-11T02:00:10.873" v="2225"/>
          <ac:spMkLst>
            <pc:docMk/>
            <pc:sldMk cId="1245107683" sldId="672"/>
            <ac:spMk id="13" creationId="{81CB122E-2BBD-4442-8CA6-F3EC3AF0F97A}"/>
          </ac:spMkLst>
        </pc:spChg>
        <pc:spChg chg="add">
          <ac:chgData name="Sam Mesel" userId="1ee7badb-5d1f-4872-89ae-dcf7b71f276a" providerId="ADAL" clId="{53886FC4-CEC3-49C2-A16F-E052A3E85A45}" dt="2020-03-11T02:00:10.873" v="2225"/>
          <ac:spMkLst>
            <pc:docMk/>
            <pc:sldMk cId="1245107683" sldId="672"/>
            <ac:spMk id="14" creationId="{2E52C8E0-CC09-4FBB-BED7-011CD48CD9A4}"/>
          </ac:spMkLst>
        </pc:spChg>
        <pc:spChg chg="mod">
          <ac:chgData name="Sam Mesel" userId="1ee7badb-5d1f-4872-89ae-dcf7b71f276a" providerId="ADAL" clId="{53886FC4-CEC3-49C2-A16F-E052A3E85A45}" dt="2020-03-11T02:06:06.786" v="2262" actId="20577"/>
          <ac:spMkLst>
            <pc:docMk/>
            <pc:sldMk cId="1245107683" sldId="672"/>
            <ac:spMk id="27" creationId="{4A8F71C1-72B0-49D9-8F7C-A22E451B5EB4}"/>
          </ac:spMkLst>
        </pc:spChg>
        <pc:spChg chg="add mod">
          <ac:chgData name="Sam Mesel" userId="1ee7badb-5d1f-4872-89ae-dcf7b71f276a" providerId="ADAL" clId="{53886FC4-CEC3-49C2-A16F-E052A3E85A45}" dt="2020-03-11T02:22:42.747" v="2440" actId="1076"/>
          <ac:spMkLst>
            <pc:docMk/>
            <pc:sldMk cId="1245107683" sldId="672"/>
            <ac:spMk id="28" creationId="{16626E62-5E18-4C44-B0A5-B7A2AC1BA740}"/>
          </ac:spMkLst>
        </pc:spChg>
        <pc:spChg chg="add mod">
          <ac:chgData name="Sam Mesel" userId="1ee7badb-5d1f-4872-89ae-dcf7b71f276a" providerId="ADAL" clId="{53886FC4-CEC3-49C2-A16F-E052A3E85A45}" dt="2020-03-11T02:16:58.825" v="2406"/>
          <ac:spMkLst>
            <pc:docMk/>
            <pc:sldMk cId="1245107683" sldId="672"/>
            <ac:spMk id="41" creationId="{562D11A9-42D9-4EAE-9F84-07FAD8F153AF}"/>
          </ac:spMkLst>
        </pc:spChg>
        <pc:spChg chg="add">
          <ac:chgData name="Sam Mesel" userId="1ee7badb-5d1f-4872-89ae-dcf7b71f276a" providerId="ADAL" clId="{53886FC4-CEC3-49C2-A16F-E052A3E85A45}" dt="2020-03-11T02:00:10.873" v="2225"/>
          <ac:spMkLst>
            <pc:docMk/>
            <pc:sldMk cId="1245107683" sldId="672"/>
            <ac:spMk id="42" creationId="{5C405DFA-D761-4C00-9588-F2CBED254CEB}"/>
          </ac:spMkLst>
        </pc:spChg>
        <pc:spChg chg="add mod">
          <ac:chgData name="Sam Mesel" userId="1ee7badb-5d1f-4872-89ae-dcf7b71f276a" providerId="ADAL" clId="{53886FC4-CEC3-49C2-A16F-E052A3E85A45}" dt="2020-03-11T02:22:05.263" v="2438" actId="207"/>
          <ac:spMkLst>
            <pc:docMk/>
            <pc:sldMk cId="1245107683" sldId="672"/>
            <ac:spMk id="43" creationId="{96ABCCB7-7D1B-4F55-A2BC-7B99C15BB3DF}"/>
          </ac:spMkLst>
        </pc:spChg>
        <pc:spChg chg="add mod">
          <ac:chgData name="Sam Mesel" userId="1ee7badb-5d1f-4872-89ae-dcf7b71f276a" providerId="ADAL" clId="{53886FC4-CEC3-49C2-A16F-E052A3E85A45}" dt="2020-03-11T02:07:28.770" v="2283" actId="1076"/>
          <ac:spMkLst>
            <pc:docMk/>
            <pc:sldMk cId="1245107683" sldId="672"/>
            <ac:spMk id="47" creationId="{E26C4CC5-2A66-41DC-BD9D-5F04D18F6D8C}"/>
          </ac:spMkLst>
        </pc:spChg>
        <pc:grpChg chg="add">
          <ac:chgData name="Sam Mesel" userId="1ee7badb-5d1f-4872-89ae-dcf7b71f276a" providerId="ADAL" clId="{53886FC4-CEC3-49C2-A16F-E052A3E85A45}" dt="2020-03-11T02:00:10.873" v="2225"/>
          <ac:grpSpMkLst>
            <pc:docMk/>
            <pc:sldMk cId="1245107683" sldId="672"/>
            <ac:grpSpMk id="6" creationId="{6B6BD134-25AD-4FE1-8461-0865A7228FCC}"/>
          </ac:grpSpMkLst>
        </pc:grpChg>
        <pc:grpChg chg="add">
          <ac:chgData name="Sam Mesel" userId="1ee7badb-5d1f-4872-89ae-dcf7b71f276a" providerId="ADAL" clId="{53886FC4-CEC3-49C2-A16F-E052A3E85A45}" dt="2020-03-11T02:00:10.873" v="2225"/>
          <ac:grpSpMkLst>
            <pc:docMk/>
            <pc:sldMk cId="1245107683" sldId="672"/>
            <ac:grpSpMk id="18" creationId="{F5EEDB9F-B74D-4666-8AEC-1D547E5FF5CF}"/>
          </ac:grpSpMkLst>
        </pc:grpChg>
        <pc:grpChg chg="add">
          <ac:chgData name="Sam Mesel" userId="1ee7badb-5d1f-4872-89ae-dcf7b71f276a" providerId="ADAL" clId="{53886FC4-CEC3-49C2-A16F-E052A3E85A45}" dt="2020-03-11T02:00:10.873" v="2225"/>
          <ac:grpSpMkLst>
            <pc:docMk/>
            <pc:sldMk cId="1245107683" sldId="672"/>
            <ac:grpSpMk id="29" creationId="{0CAFC857-C3FB-4D6A-AEE7-03AE5F4C4356}"/>
          </ac:grpSpMkLst>
        </pc:grpChg>
        <pc:grpChg chg="add">
          <ac:chgData name="Sam Mesel" userId="1ee7badb-5d1f-4872-89ae-dcf7b71f276a" providerId="ADAL" clId="{53886FC4-CEC3-49C2-A16F-E052A3E85A45}" dt="2020-03-11T02:00:10.873" v="2225"/>
          <ac:grpSpMkLst>
            <pc:docMk/>
            <pc:sldMk cId="1245107683" sldId="672"/>
            <ac:grpSpMk id="35" creationId="{85D65037-1E11-428B-8E94-6171CBFA4507}"/>
          </ac:grpSpMkLst>
        </pc:grpChg>
        <pc:cxnChg chg="add">
          <ac:chgData name="Sam Mesel" userId="1ee7badb-5d1f-4872-89ae-dcf7b71f276a" providerId="ADAL" clId="{53886FC4-CEC3-49C2-A16F-E052A3E85A45}" dt="2020-03-11T02:00:10.873" v="2225"/>
          <ac:cxnSpMkLst>
            <pc:docMk/>
            <pc:sldMk cId="1245107683" sldId="672"/>
            <ac:cxnSpMk id="15" creationId="{5B0C39A7-0A27-4752-9664-88AA643B300B}"/>
          </ac:cxnSpMkLst>
        </pc:cxnChg>
        <pc:cxnChg chg="add">
          <ac:chgData name="Sam Mesel" userId="1ee7badb-5d1f-4872-89ae-dcf7b71f276a" providerId="ADAL" clId="{53886FC4-CEC3-49C2-A16F-E052A3E85A45}" dt="2020-03-11T02:00:10.873" v="2225"/>
          <ac:cxnSpMkLst>
            <pc:docMk/>
            <pc:sldMk cId="1245107683" sldId="672"/>
            <ac:cxnSpMk id="16" creationId="{099CEBD6-74A5-4084-9620-ED1226F76A05}"/>
          </ac:cxnSpMkLst>
        </pc:cxnChg>
        <pc:cxnChg chg="add">
          <ac:chgData name="Sam Mesel" userId="1ee7badb-5d1f-4872-89ae-dcf7b71f276a" providerId="ADAL" clId="{53886FC4-CEC3-49C2-A16F-E052A3E85A45}" dt="2020-03-11T02:00:10.873" v="2225"/>
          <ac:cxnSpMkLst>
            <pc:docMk/>
            <pc:sldMk cId="1245107683" sldId="672"/>
            <ac:cxnSpMk id="17" creationId="{A93A0A2F-BA6F-4EE4-8CAD-FB5B882BA7B0}"/>
          </ac:cxnSpMkLst>
        </pc:cxnChg>
        <pc:cxnChg chg="add">
          <ac:chgData name="Sam Mesel" userId="1ee7badb-5d1f-4872-89ae-dcf7b71f276a" providerId="ADAL" clId="{53886FC4-CEC3-49C2-A16F-E052A3E85A45}" dt="2020-03-11T02:00:10.873" v="2225"/>
          <ac:cxnSpMkLst>
            <pc:docMk/>
            <pc:sldMk cId="1245107683" sldId="672"/>
            <ac:cxnSpMk id="34" creationId="{7132C040-ED04-4CD6-9AC2-FD6542267C06}"/>
          </ac:cxnSpMkLst>
        </pc:cxnChg>
        <pc:cxnChg chg="add">
          <ac:chgData name="Sam Mesel" userId="1ee7badb-5d1f-4872-89ae-dcf7b71f276a" providerId="ADAL" clId="{53886FC4-CEC3-49C2-A16F-E052A3E85A45}" dt="2020-03-11T02:00:10.873" v="2225"/>
          <ac:cxnSpMkLst>
            <pc:docMk/>
            <pc:sldMk cId="1245107683" sldId="672"/>
            <ac:cxnSpMk id="40" creationId="{EFF1AB96-2FAD-45F9-9D51-4A8379CDB1AD}"/>
          </ac:cxnSpMkLst>
        </pc:cxnChg>
        <pc:cxnChg chg="add mod">
          <ac:chgData name="Sam Mesel" userId="1ee7badb-5d1f-4872-89ae-dcf7b71f276a" providerId="ADAL" clId="{53886FC4-CEC3-49C2-A16F-E052A3E85A45}" dt="2020-03-11T02:12:35.869" v="2349" actId="1076"/>
          <ac:cxnSpMkLst>
            <pc:docMk/>
            <pc:sldMk cId="1245107683" sldId="672"/>
            <ac:cxnSpMk id="44" creationId="{3C3B778F-AD82-4722-820B-A73BDEE4C006}"/>
          </ac:cxnSpMkLst>
        </pc:cxnChg>
        <pc:cxnChg chg="add">
          <ac:chgData name="Sam Mesel" userId="1ee7badb-5d1f-4872-89ae-dcf7b71f276a" providerId="ADAL" clId="{53886FC4-CEC3-49C2-A16F-E052A3E85A45}" dt="2020-03-11T02:00:10.873" v="2225"/>
          <ac:cxnSpMkLst>
            <pc:docMk/>
            <pc:sldMk cId="1245107683" sldId="672"/>
            <ac:cxnSpMk id="45" creationId="{526684BE-9E8F-4049-9314-56E205236D65}"/>
          </ac:cxnSpMkLst>
        </pc:cxnChg>
        <pc:cxnChg chg="add mod">
          <ac:chgData name="Sam Mesel" userId="1ee7badb-5d1f-4872-89ae-dcf7b71f276a" providerId="ADAL" clId="{53886FC4-CEC3-49C2-A16F-E052A3E85A45}" dt="2020-03-11T02:22:42.747" v="2440" actId="1076"/>
          <ac:cxnSpMkLst>
            <pc:docMk/>
            <pc:sldMk cId="1245107683" sldId="672"/>
            <ac:cxnSpMk id="46" creationId="{05A11DDD-2138-4A80-86B2-D56E7CD40DB6}"/>
          </ac:cxnSpMkLst>
        </pc:cxnChg>
      </pc:sldChg>
      <pc:sldChg chg="addSp delSp modSp new mod">
        <pc:chgData name="Sam Mesel" userId="1ee7badb-5d1f-4872-89ae-dcf7b71f276a" providerId="ADAL" clId="{53886FC4-CEC3-49C2-A16F-E052A3E85A45}" dt="2020-03-19T16:36:16.663" v="6772"/>
        <pc:sldMkLst>
          <pc:docMk/>
          <pc:sldMk cId="2745452252" sldId="673"/>
        </pc:sldMkLst>
        <pc:spChg chg="mod">
          <ac:chgData name="Sam Mesel" userId="1ee7badb-5d1f-4872-89ae-dcf7b71f276a" providerId="ADAL" clId="{53886FC4-CEC3-49C2-A16F-E052A3E85A45}" dt="2020-03-11T02:23:46.523" v="2463" actId="20577"/>
          <ac:spMkLst>
            <pc:docMk/>
            <pc:sldMk cId="2745452252" sldId="673"/>
            <ac:spMk id="2" creationId="{35CD5A5D-650E-4696-9F2C-63B7EC7236AA}"/>
          </ac:spMkLst>
        </pc:spChg>
        <pc:spChg chg="mod">
          <ac:chgData name="Sam Mesel" userId="1ee7badb-5d1f-4872-89ae-dcf7b71f276a" providerId="ADAL" clId="{53886FC4-CEC3-49C2-A16F-E052A3E85A45}" dt="2020-03-11T02:23:52.173" v="2474" actId="20577"/>
          <ac:spMkLst>
            <pc:docMk/>
            <pc:sldMk cId="2745452252" sldId="673"/>
            <ac:spMk id="3" creationId="{AE17EE2F-ED73-4227-9486-2486245C512D}"/>
          </ac:spMkLst>
        </pc:spChg>
        <pc:spChg chg="del mod">
          <ac:chgData name="Sam Mesel" userId="1ee7badb-5d1f-4872-89ae-dcf7b71f276a" providerId="ADAL" clId="{53886FC4-CEC3-49C2-A16F-E052A3E85A45}" dt="2020-03-11T02:24:25.979" v="2494" actId="12084"/>
          <ac:spMkLst>
            <pc:docMk/>
            <pc:sldMk cId="2745452252" sldId="673"/>
            <ac:spMk id="4" creationId="{BB7DA5D3-9C24-4CAD-A2CC-AE4E583061F5}"/>
          </ac:spMkLst>
        </pc:spChg>
        <pc:graphicFrameChg chg="add mod">
          <ac:chgData name="Sam Mesel" userId="1ee7badb-5d1f-4872-89ae-dcf7b71f276a" providerId="ADAL" clId="{53886FC4-CEC3-49C2-A16F-E052A3E85A45}" dt="2020-03-19T16:36:16.663" v="6772"/>
          <ac:graphicFrameMkLst>
            <pc:docMk/>
            <pc:sldMk cId="2745452252" sldId="673"/>
            <ac:graphicFrameMk id="5" creationId="{7D108DBB-E906-4DC1-A452-84D184316AB6}"/>
          </ac:graphicFrameMkLst>
        </pc:graphicFrameChg>
      </pc:sldChg>
      <pc:sldChg chg="addSp delSp modSp new mod modAnim">
        <pc:chgData name="Sam Mesel" userId="1ee7badb-5d1f-4872-89ae-dcf7b71f276a" providerId="ADAL" clId="{53886FC4-CEC3-49C2-A16F-E052A3E85A45}" dt="2020-03-19T15:36:10.133" v="5377"/>
        <pc:sldMkLst>
          <pc:docMk/>
          <pc:sldMk cId="3635708424" sldId="674"/>
        </pc:sldMkLst>
        <pc:spChg chg="mod">
          <ac:chgData name="Sam Mesel" userId="1ee7badb-5d1f-4872-89ae-dcf7b71f276a" providerId="ADAL" clId="{53886FC4-CEC3-49C2-A16F-E052A3E85A45}" dt="2020-03-11T02:47:40.038" v="3046" actId="20577"/>
          <ac:spMkLst>
            <pc:docMk/>
            <pc:sldMk cId="3635708424" sldId="674"/>
            <ac:spMk id="2" creationId="{E70845F0-4334-4F43-845F-1E63DC9EC4C1}"/>
          </ac:spMkLst>
        </pc:spChg>
        <pc:spChg chg="mod">
          <ac:chgData name="Sam Mesel" userId="1ee7badb-5d1f-4872-89ae-dcf7b71f276a" providerId="ADAL" clId="{53886FC4-CEC3-49C2-A16F-E052A3E85A45}" dt="2020-03-11T02:58:33.971" v="3404" actId="14100"/>
          <ac:spMkLst>
            <pc:docMk/>
            <pc:sldMk cId="3635708424" sldId="674"/>
            <ac:spMk id="3" creationId="{3152179B-513C-42BB-A37F-6972724C1B17}"/>
          </ac:spMkLst>
        </pc:spChg>
        <pc:spChg chg="mod">
          <ac:chgData name="Sam Mesel" userId="1ee7badb-5d1f-4872-89ae-dcf7b71f276a" providerId="ADAL" clId="{53886FC4-CEC3-49C2-A16F-E052A3E85A45}" dt="2020-03-19T15:35:17.710" v="5375" actId="113"/>
          <ac:spMkLst>
            <pc:docMk/>
            <pc:sldMk cId="3635708424" sldId="674"/>
            <ac:spMk id="4" creationId="{500520A3-0B09-4C4F-A823-88076E664703}"/>
          </ac:spMkLst>
        </pc:spChg>
        <pc:spChg chg="add mod">
          <ac:chgData name="Sam Mesel" userId="1ee7badb-5d1f-4872-89ae-dcf7b71f276a" providerId="ADAL" clId="{53886FC4-CEC3-49C2-A16F-E052A3E85A45}" dt="2020-03-11T03:04:40.993" v="3454" actId="164"/>
          <ac:spMkLst>
            <pc:docMk/>
            <pc:sldMk cId="3635708424" sldId="674"/>
            <ac:spMk id="32" creationId="{27014AA0-11E3-4865-AD89-F4CD523BD4C8}"/>
          </ac:spMkLst>
        </pc:spChg>
        <pc:spChg chg="add mod">
          <ac:chgData name="Sam Mesel" userId="1ee7badb-5d1f-4872-89ae-dcf7b71f276a" providerId="ADAL" clId="{53886FC4-CEC3-49C2-A16F-E052A3E85A45}" dt="2020-03-11T03:04:40.993" v="3454" actId="164"/>
          <ac:spMkLst>
            <pc:docMk/>
            <pc:sldMk cId="3635708424" sldId="674"/>
            <ac:spMk id="33" creationId="{4722E2F2-8382-4CF9-8AD7-2ED34167B93F}"/>
          </ac:spMkLst>
        </pc:spChg>
        <pc:spChg chg="add mod">
          <ac:chgData name="Sam Mesel" userId="1ee7badb-5d1f-4872-89ae-dcf7b71f276a" providerId="ADAL" clId="{53886FC4-CEC3-49C2-A16F-E052A3E85A45}" dt="2020-03-11T03:04:40.993" v="3454" actId="164"/>
          <ac:spMkLst>
            <pc:docMk/>
            <pc:sldMk cId="3635708424" sldId="674"/>
            <ac:spMk id="34" creationId="{7BF4CFB8-FA37-4336-A78C-375C011AC469}"/>
          </ac:spMkLst>
        </pc:spChg>
        <pc:spChg chg="add mod">
          <ac:chgData name="Sam Mesel" userId="1ee7badb-5d1f-4872-89ae-dcf7b71f276a" providerId="ADAL" clId="{53886FC4-CEC3-49C2-A16F-E052A3E85A45}" dt="2020-03-11T03:04:40.993" v="3454" actId="164"/>
          <ac:spMkLst>
            <pc:docMk/>
            <pc:sldMk cId="3635708424" sldId="674"/>
            <ac:spMk id="35" creationId="{D052117C-913D-4FBB-A983-9CC7723F93AF}"/>
          </ac:spMkLst>
        </pc:spChg>
        <pc:spChg chg="add mod">
          <ac:chgData name="Sam Mesel" userId="1ee7badb-5d1f-4872-89ae-dcf7b71f276a" providerId="ADAL" clId="{53886FC4-CEC3-49C2-A16F-E052A3E85A45}" dt="2020-03-11T03:04:40.993" v="3454" actId="164"/>
          <ac:spMkLst>
            <pc:docMk/>
            <pc:sldMk cId="3635708424" sldId="674"/>
            <ac:spMk id="36" creationId="{C4A53A48-B1BF-4A64-9A2E-C78B83C821D4}"/>
          </ac:spMkLst>
        </pc:spChg>
        <pc:spChg chg="add mod">
          <ac:chgData name="Sam Mesel" userId="1ee7badb-5d1f-4872-89ae-dcf7b71f276a" providerId="ADAL" clId="{53886FC4-CEC3-49C2-A16F-E052A3E85A45}" dt="2020-03-11T03:04:40.993" v="3454" actId="164"/>
          <ac:spMkLst>
            <pc:docMk/>
            <pc:sldMk cId="3635708424" sldId="674"/>
            <ac:spMk id="37" creationId="{D64E918F-1D40-4176-9BBE-08F31A9DCE0C}"/>
          </ac:spMkLst>
        </pc:spChg>
        <pc:spChg chg="add mod">
          <ac:chgData name="Sam Mesel" userId="1ee7badb-5d1f-4872-89ae-dcf7b71f276a" providerId="ADAL" clId="{53886FC4-CEC3-49C2-A16F-E052A3E85A45}" dt="2020-03-11T03:04:40.993" v="3454" actId="164"/>
          <ac:spMkLst>
            <pc:docMk/>
            <pc:sldMk cId="3635708424" sldId="674"/>
            <ac:spMk id="38" creationId="{B4B581D1-18E3-4A2B-9452-FB4D1AEA401A}"/>
          </ac:spMkLst>
        </pc:spChg>
        <pc:spChg chg="add mod">
          <ac:chgData name="Sam Mesel" userId="1ee7badb-5d1f-4872-89ae-dcf7b71f276a" providerId="ADAL" clId="{53886FC4-CEC3-49C2-A16F-E052A3E85A45}" dt="2020-03-11T03:04:40.993" v="3454" actId="164"/>
          <ac:spMkLst>
            <pc:docMk/>
            <pc:sldMk cId="3635708424" sldId="674"/>
            <ac:spMk id="39" creationId="{769416F4-8456-4150-B752-672B6F04CB8F}"/>
          </ac:spMkLst>
        </pc:spChg>
        <pc:spChg chg="add mod">
          <ac:chgData name="Sam Mesel" userId="1ee7badb-5d1f-4872-89ae-dcf7b71f276a" providerId="ADAL" clId="{53886FC4-CEC3-49C2-A16F-E052A3E85A45}" dt="2020-03-11T03:04:40.993" v="3454" actId="164"/>
          <ac:spMkLst>
            <pc:docMk/>
            <pc:sldMk cId="3635708424" sldId="674"/>
            <ac:spMk id="40" creationId="{E2AF50D2-B256-4117-B257-0737810C9D03}"/>
          </ac:spMkLst>
        </pc:spChg>
        <pc:spChg chg="add mod">
          <ac:chgData name="Sam Mesel" userId="1ee7badb-5d1f-4872-89ae-dcf7b71f276a" providerId="ADAL" clId="{53886FC4-CEC3-49C2-A16F-E052A3E85A45}" dt="2020-03-11T03:04:40.993" v="3454" actId="164"/>
          <ac:spMkLst>
            <pc:docMk/>
            <pc:sldMk cId="3635708424" sldId="674"/>
            <ac:spMk id="41" creationId="{FD46308B-B260-4D4C-9880-C825583C227A}"/>
          </ac:spMkLst>
        </pc:spChg>
        <pc:spChg chg="add mod">
          <ac:chgData name="Sam Mesel" userId="1ee7badb-5d1f-4872-89ae-dcf7b71f276a" providerId="ADAL" clId="{53886FC4-CEC3-49C2-A16F-E052A3E85A45}" dt="2020-03-11T03:04:40.993" v="3454" actId="164"/>
          <ac:spMkLst>
            <pc:docMk/>
            <pc:sldMk cId="3635708424" sldId="674"/>
            <ac:spMk id="42" creationId="{F1323C98-8526-4844-91E9-B428197407B5}"/>
          </ac:spMkLst>
        </pc:spChg>
        <pc:spChg chg="add mod">
          <ac:chgData name="Sam Mesel" userId="1ee7badb-5d1f-4872-89ae-dcf7b71f276a" providerId="ADAL" clId="{53886FC4-CEC3-49C2-A16F-E052A3E85A45}" dt="2020-03-11T03:04:40.993" v="3454" actId="164"/>
          <ac:spMkLst>
            <pc:docMk/>
            <pc:sldMk cId="3635708424" sldId="674"/>
            <ac:spMk id="43" creationId="{107E0F73-9FD6-4440-AEA6-86659AD1E84A}"/>
          </ac:spMkLst>
        </pc:spChg>
        <pc:spChg chg="add mod">
          <ac:chgData name="Sam Mesel" userId="1ee7badb-5d1f-4872-89ae-dcf7b71f276a" providerId="ADAL" clId="{53886FC4-CEC3-49C2-A16F-E052A3E85A45}" dt="2020-03-11T03:04:40.993" v="3454" actId="164"/>
          <ac:spMkLst>
            <pc:docMk/>
            <pc:sldMk cId="3635708424" sldId="674"/>
            <ac:spMk id="44" creationId="{6DAB4B14-BB6D-427D-98F7-99064DA98DC3}"/>
          </ac:spMkLst>
        </pc:spChg>
        <pc:spChg chg="add mod">
          <ac:chgData name="Sam Mesel" userId="1ee7badb-5d1f-4872-89ae-dcf7b71f276a" providerId="ADAL" clId="{53886FC4-CEC3-49C2-A16F-E052A3E85A45}" dt="2020-03-11T03:04:40.993" v="3454" actId="164"/>
          <ac:spMkLst>
            <pc:docMk/>
            <pc:sldMk cId="3635708424" sldId="674"/>
            <ac:spMk id="45" creationId="{225EB56D-4182-4E32-BF5A-4E4C01741FFB}"/>
          </ac:spMkLst>
        </pc:spChg>
        <pc:spChg chg="add mod">
          <ac:chgData name="Sam Mesel" userId="1ee7badb-5d1f-4872-89ae-dcf7b71f276a" providerId="ADAL" clId="{53886FC4-CEC3-49C2-A16F-E052A3E85A45}" dt="2020-03-11T03:04:40.993" v="3454" actId="164"/>
          <ac:spMkLst>
            <pc:docMk/>
            <pc:sldMk cId="3635708424" sldId="674"/>
            <ac:spMk id="46" creationId="{E3FCA92E-9884-45B6-916F-C5AC36C501FD}"/>
          </ac:spMkLst>
        </pc:spChg>
        <pc:spChg chg="add mod">
          <ac:chgData name="Sam Mesel" userId="1ee7badb-5d1f-4872-89ae-dcf7b71f276a" providerId="ADAL" clId="{53886FC4-CEC3-49C2-A16F-E052A3E85A45}" dt="2020-03-11T03:04:40.993" v="3454" actId="164"/>
          <ac:spMkLst>
            <pc:docMk/>
            <pc:sldMk cId="3635708424" sldId="674"/>
            <ac:spMk id="47" creationId="{F2EDBD66-B36C-429A-AE1F-E02A71EBA438}"/>
          </ac:spMkLst>
        </pc:spChg>
        <pc:spChg chg="add del mod">
          <ac:chgData name="Sam Mesel" userId="1ee7badb-5d1f-4872-89ae-dcf7b71f276a" providerId="ADAL" clId="{53886FC4-CEC3-49C2-A16F-E052A3E85A45}" dt="2020-03-11T03:05:08.991" v="3463" actId="478"/>
          <ac:spMkLst>
            <pc:docMk/>
            <pc:sldMk cId="3635708424" sldId="674"/>
            <ac:spMk id="48" creationId="{56636A69-3816-4AA9-AEA7-6AA96630E58F}"/>
          </ac:spMkLst>
        </pc:spChg>
        <pc:spChg chg="add mod">
          <ac:chgData name="Sam Mesel" userId="1ee7badb-5d1f-4872-89ae-dcf7b71f276a" providerId="ADAL" clId="{53886FC4-CEC3-49C2-A16F-E052A3E85A45}" dt="2020-03-11T03:07:20.897" v="3511" actId="164"/>
          <ac:spMkLst>
            <pc:docMk/>
            <pc:sldMk cId="3635708424" sldId="674"/>
            <ac:spMk id="49" creationId="{5ECB3842-04EF-4EC2-849E-DDF4BB486ADA}"/>
          </ac:spMkLst>
        </pc:spChg>
        <pc:spChg chg="add mod">
          <ac:chgData name="Sam Mesel" userId="1ee7badb-5d1f-4872-89ae-dcf7b71f276a" providerId="ADAL" clId="{53886FC4-CEC3-49C2-A16F-E052A3E85A45}" dt="2020-03-11T03:07:20.897" v="3511" actId="164"/>
          <ac:spMkLst>
            <pc:docMk/>
            <pc:sldMk cId="3635708424" sldId="674"/>
            <ac:spMk id="50" creationId="{A2024A2B-73BF-4520-9136-7FF427B7DFD2}"/>
          </ac:spMkLst>
        </pc:spChg>
        <pc:spChg chg="add mod">
          <ac:chgData name="Sam Mesel" userId="1ee7badb-5d1f-4872-89ae-dcf7b71f276a" providerId="ADAL" clId="{53886FC4-CEC3-49C2-A16F-E052A3E85A45}" dt="2020-03-11T03:07:20.897" v="3511" actId="164"/>
          <ac:spMkLst>
            <pc:docMk/>
            <pc:sldMk cId="3635708424" sldId="674"/>
            <ac:spMk id="51" creationId="{FFC4B298-B08F-46E3-8CFA-769603BBE463}"/>
          </ac:spMkLst>
        </pc:spChg>
        <pc:spChg chg="add mod">
          <ac:chgData name="Sam Mesel" userId="1ee7badb-5d1f-4872-89ae-dcf7b71f276a" providerId="ADAL" clId="{53886FC4-CEC3-49C2-A16F-E052A3E85A45}" dt="2020-03-11T03:07:20.897" v="3511" actId="164"/>
          <ac:spMkLst>
            <pc:docMk/>
            <pc:sldMk cId="3635708424" sldId="674"/>
            <ac:spMk id="52" creationId="{02E51240-B60C-488C-852B-D27331345330}"/>
          </ac:spMkLst>
        </pc:spChg>
        <pc:spChg chg="add mod">
          <ac:chgData name="Sam Mesel" userId="1ee7badb-5d1f-4872-89ae-dcf7b71f276a" providerId="ADAL" clId="{53886FC4-CEC3-49C2-A16F-E052A3E85A45}" dt="2020-03-11T03:07:20.897" v="3511" actId="164"/>
          <ac:spMkLst>
            <pc:docMk/>
            <pc:sldMk cId="3635708424" sldId="674"/>
            <ac:spMk id="53" creationId="{CC262049-B424-480F-A216-AFE2FFBF6AE2}"/>
          </ac:spMkLst>
        </pc:spChg>
        <pc:spChg chg="add mod">
          <ac:chgData name="Sam Mesel" userId="1ee7badb-5d1f-4872-89ae-dcf7b71f276a" providerId="ADAL" clId="{53886FC4-CEC3-49C2-A16F-E052A3E85A45}" dt="2020-03-11T03:07:20.897" v="3511" actId="164"/>
          <ac:spMkLst>
            <pc:docMk/>
            <pc:sldMk cId="3635708424" sldId="674"/>
            <ac:spMk id="54" creationId="{4BD758F4-BB4A-49CF-AA88-0F62AD0706E0}"/>
          </ac:spMkLst>
        </pc:spChg>
        <pc:spChg chg="add mod">
          <ac:chgData name="Sam Mesel" userId="1ee7badb-5d1f-4872-89ae-dcf7b71f276a" providerId="ADAL" clId="{53886FC4-CEC3-49C2-A16F-E052A3E85A45}" dt="2020-03-11T03:07:20.897" v="3511" actId="164"/>
          <ac:spMkLst>
            <pc:docMk/>
            <pc:sldMk cId="3635708424" sldId="674"/>
            <ac:spMk id="55" creationId="{EF7D9FF1-3D1F-4602-8D43-7DEB039B8161}"/>
          </ac:spMkLst>
        </pc:spChg>
        <pc:spChg chg="add mod">
          <ac:chgData name="Sam Mesel" userId="1ee7badb-5d1f-4872-89ae-dcf7b71f276a" providerId="ADAL" clId="{53886FC4-CEC3-49C2-A16F-E052A3E85A45}" dt="2020-03-11T03:07:20.897" v="3511" actId="164"/>
          <ac:spMkLst>
            <pc:docMk/>
            <pc:sldMk cId="3635708424" sldId="674"/>
            <ac:spMk id="56" creationId="{1C77F3E9-8B2D-4C5F-84BC-097B92D802B2}"/>
          </ac:spMkLst>
        </pc:spChg>
        <pc:spChg chg="add mod">
          <ac:chgData name="Sam Mesel" userId="1ee7badb-5d1f-4872-89ae-dcf7b71f276a" providerId="ADAL" clId="{53886FC4-CEC3-49C2-A16F-E052A3E85A45}" dt="2020-03-11T03:07:30.243" v="3513" actId="1076"/>
          <ac:spMkLst>
            <pc:docMk/>
            <pc:sldMk cId="3635708424" sldId="674"/>
            <ac:spMk id="59" creationId="{906BF247-ED15-4778-B9BE-E14D89939CF8}"/>
          </ac:spMkLst>
        </pc:spChg>
        <pc:spChg chg="add mod">
          <ac:chgData name="Sam Mesel" userId="1ee7badb-5d1f-4872-89ae-dcf7b71f276a" providerId="ADAL" clId="{53886FC4-CEC3-49C2-A16F-E052A3E85A45}" dt="2020-03-11T03:07:20.897" v="3511" actId="164"/>
          <ac:spMkLst>
            <pc:docMk/>
            <pc:sldMk cId="3635708424" sldId="674"/>
            <ac:spMk id="61" creationId="{F18D267F-4855-4442-9A1A-6DCA209171F0}"/>
          </ac:spMkLst>
        </pc:spChg>
        <pc:spChg chg="add mod">
          <ac:chgData name="Sam Mesel" userId="1ee7badb-5d1f-4872-89ae-dcf7b71f276a" providerId="ADAL" clId="{53886FC4-CEC3-49C2-A16F-E052A3E85A45}" dt="2020-03-11T03:07:20.897" v="3511" actId="164"/>
          <ac:spMkLst>
            <pc:docMk/>
            <pc:sldMk cId="3635708424" sldId="674"/>
            <ac:spMk id="62" creationId="{973E1E38-EC29-48C5-A33A-FD197231BC97}"/>
          </ac:spMkLst>
        </pc:spChg>
        <pc:spChg chg="add mod">
          <ac:chgData name="Sam Mesel" userId="1ee7badb-5d1f-4872-89ae-dcf7b71f276a" providerId="ADAL" clId="{53886FC4-CEC3-49C2-A16F-E052A3E85A45}" dt="2020-03-11T03:07:20.897" v="3511" actId="164"/>
          <ac:spMkLst>
            <pc:docMk/>
            <pc:sldMk cId="3635708424" sldId="674"/>
            <ac:spMk id="63" creationId="{18424563-91CE-4987-8DEE-3DB66E8C61B8}"/>
          </ac:spMkLst>
        </pc:spChg>
        <pc:spChg chg="add mod">
          <ac:chgData name="Sam Mesel" userId="1ee7badb-5d1f-4872-89ae-dcf7b71f276a" providerId="ADAL" clId="{53886FC4-CEC3-49C2-A16F-E052A3E85A45}" dt="2020-03-11T03:07:38.499" v="3515" actId="1076"/>
          <ac:spMkLst>
            <pc:docMk/>
            <pc:sldMk cId="3635708424" sldId="674"/>
            <ac:spMk id="64" creationId="{295E84C9-64F9-41E3-AB6A-3D4BEABA2B91}"/>
          </ac:spMkLst>
        </pc:spChg>
        <pc:grpChg chg="add mod">
          <ac:chgData name="Sam Mesel" userId="1ee7badb-5d1f-4872-89ae-dcf7b71f276a" providerId="ADAL" clId="{53886FC4-CEC3-49C2-A16F-E052A3E85A45}" dt="2020-03-11T03:07:34.141" v="3514" actId="1076"/>
          <ac:grpSpMkLst>
            <pc:docMk/>
            <pc:sldMk cId="3635708424" sldId="674"/>
            <ac:grpSpMk id="5" creationId="{AF017561-8886-4EE4-B0A2-0B0EF23EC8D9}"/>
          </ac:grpSpMkLst>
        </pc:grpChg>
        <pc:grpChg chg="add mod">
          <ac:chgData name="Sam Mesel" userId="1ee7badb-5d1f-4872-89ae-dcf7b71f276a" providerId="ADAL" clId="{53886FC4-CEC3-49C2-A16F-E052A3E85A45}" dt="2020-03-11T03:07:34.141" v="3514" actId="1076"/>
          <ac:grpSpMkLst>
            <pc:docMk/>
            <pc:sldMk cId="3635708424" sldId="674"/>
            <ac:grpSpMk id="8" creationId="{8EC2393B-288B-4BEE-8298-C7D85D28A9DD}"/>
          </ac:grpSpMkLst>
        </pc:grpChg>
        <pc:grpChg chg="add mod">
          <ac:chgData name="Sam Mesel" userId="1ee7badb-5d1f-4872-89ae-dcf7b71f276a" providerId="ADAL" clId="{53886FC4-CEC3-49C2-A16F-E052A3E85A45}" dt="2020-03-11T03:07:34.141" v="3514" actId="1076"/>
          <ac:grpSpMkLst>
            <pc:docMk/>
            <pc:sldMk cId="3635708424" sldId="674"/>
            <ac:grpSpMk id="11" creationId="{1B2E1ABD-81B7-4E54-BD1F-336E7BA240A8}"/>
          </ac:grpSpMkLst>
        </pc:grpChg>
        <pc:grpChg chg="add mod">
          <ac:chgData name="Sam Mesel" userId="1ee7badb-5d1f-4872-89ae-dcf7b71f276a" providerId="ADAL" clId="{53886FC4-CEC3-49C2-A16F-E052A3E85A45}" dt="2020-03-11T03:07:34.141" v="3514" actId="1076"/>
          <ac:grpSpMkLst>
            <pc:docMk/>
            <pc:sldMk cId="3635708424" sldId="674"/>
            <ac:grpSpMk id="14" creationId="{A78C5848-E335-4D50-8FA4-AC2B07B66098}"/>
          </ac:grpSpMkLst>
        </pc:grpChg>
        <pc:grpChg chg="add mod">
          <ac:chgData name="Sam Mesel" userId="1ee7badb-5d1f-4872-89ae-dcf7b71f276a" providerId="ADAL" clId="{53886FC4-CEC3-49C2-A16F-E052A3E85A45}" dt="2020-03-11T03:07:34.141" v="3514" actId="1076"/>
          <ac:grpSpMkLst>
            <pc:docMk/>
            <pc:sldMk cId="3635708424" sldId="674"/>
            <ac:grpSpMk id="17" creationId="{28BAA599-9049-452A-8AA6-58B758B506A2}"/>
          </ac:grpSpMkLst>
        </pc:grpChg>
        <pc:grpChg chg="add mod">
          <ac:chgData name="Sam Mesel" userId="1ee7badb-5d1f-4872-89ae-dcf7b71f276a" providerId="ADAL" clId="{53886FC4-CEC3-49C2-A16F-E052A3E85A45}" dt="2020-03-11T03:07:34.141" v="3514" actId="1076"/>
          <ac:grpSpMkLst>
            <pc:docMk/>
            <pc:sldMk cId="3635708424" sldId="674"/>
            <ac:grpSpMk id="20" creationId="{555F5EB5-5ADC-4368-B761-47525A458D88}"/>
          </ac:grpSpMkLst>
        </pc:grpChg>
        <pc:grpChg chg="add mod">
          <ac:chgData name="Sam Mesel" userId="1ee7badb-5d1f-4872-89ae-dcf7b71f276a" providerId="ADAL" clId="{53886FC4-CEC3-49C2-A16F-E052A3E85A45}" dt="2020-03-11T03:07:34.141" v="3514" actId="1076"/>
          <ac:grpSpMkLst>
            <pc:docMk/>
            <pc:sldMk cId="3635708424" sldId="674"/>
            <ac:grpSpMk id="23" creationId="{D00B00A2-913E-4848-9103-99A70BEB3F28}"/>
          </ac:grpSpMkLst>
        </pc:grpChg>
        <pc:grpChg chg="add mod">
          <ac:chgData name="Sam Mesel" userId="1ee7badb-5d1f-4872-89ae-dcf7b71f276a" providerId="ADAL" clId="{53886FC4-CEC3-49C2-A16F-E052A3E85A45}" dt="2020-03-11T03:07:34.141" v="3514" actId="1076"/>
          <ac:grpSpMkLst>
            <pc:docMk/>
            <pc:sldMk cId="3635708424" sldId="674"/>
            <ac:grpSpMk id="26" creationId="{F3BDA354-CD68-4D6B-83DE-B81A2721E3FE}"/>
          </ac:grpSpMkLst>
        </pc:grpChg>
        <pc:grpChg chg="add mod">
          <ac:chgData name="Sam Mesel" userId="1ee7badb-5d1f-4872-89ae-dcf7b71f276a" providerId="ADAL" clId="{53886FC4-CEC3-49C2-A16F-E052A3E85A45}" dt="2020-03-11T03:07:34.141" v="3514" actId="1076"/>
          <ac:grpSpMkLst>
            <pc:docMk/>
            <pc:sldMk cId="3635708424" sldId="674"/>
            <ac:grpSpMk id="29" creationId="{A09D5FBF-162D-4189-85B2-00C0DD1E2D44}"/>
          </ac:grpSpMkLst>
        </pc:grpChg>
        <pc:grpChg chg="add mod">
          <ac:chgData name="Sam Mesel" userId="1ee7badb-5d1f-4872-89ae-dcf7b71f276a" providerId="ADAL" clId="{53886FC4-CEC3-49C2-A16F-E052A3E85A45}" dt="2020-03-11T03:04:25.253" v="3453" actId="164"/>
          <ac:grpSpMkLst>
            <pc:docMk/>
            <pc:sldMk cId="3635708424" sldId="674"/>
            <ac:grpSpMk id="66" creationId="{BF791DC8-2142-4B19-A4E5-AC7ECCEBC7C0}"/>
          </ac:grpSpMkLst>
        </pc:grpChg>
        <pc:grpChg chg="add mod">
          <ac:chgData name="Sam Mesel" userId="1ee7badb-5d1f-4872-89ae-dcf7b71f276a" providerId="ADAL" clId="{53886FC4-CEC3-49C2-A16F-E052A3E85A45}" dt="2020-03-11T03:07:34.141" v="3514" actId="1076"/>
          <ac:grpSpMkLst>
            <pc:docMk/>
            <pc:sldMk cId="3635708424" sldId="674"/>
            <ac:grpSpMk id="67" creationId="{8735EC84-C8DF-49DC-964B-1544FCA9DAFE}"/>
          </ac:grpSpMkLst>
        </pc:grpChg>
        <pc:grpChg chg="add mod">
          <ac:chgData name="Sam Mesel" userId="1ee7badb-5d1f-4872-89ae-dcf7b71f276a" providerId="ADAL" clId="{53886FC4-CEC3-49C2-A16F-E052A3E85A45}" dt="2020-03-11T03:07:26.019" v="3512" actId="14100"/>
          <ac:grpSpMkLst>
            <pc:docMk/>
            <pc:sldMk cId="3635708424" sldId="674"/>
            <ac:grpSpMk id="68" creationId="{D6189825-43FA-4F36-AD40-2397CAFB6A61}"/>
          </ac:grpSpMkLst>
        </pc:grpChg>
        <pc:cxnChg chg="add mod">
          <ac:chgData name="Sam Mesel" userId="1ee7badb-5d1f-4872-89ae-dcf7b71f276a" providerId="ADAL" clId="{53886FC4-CEC3-49C2-A16F-E052A3E85A45}" dt="2020-03-11T03:07:20.897" v="3511" actId="164"/>
          <ac:cxnSpMkLst>
            <pc:docMk/>
            <pc:sldMk cId="3635708424" sldId="674"/>
            <ac:cxnSpMk id="57" creationId="{E3835AC4-C5FF-4C23-A71E-77A0ECF7F821}"/>
          </ac:cxnSpMkLst>
        </pc:cxnChg>
        <pc:cxnChg chg="add mod">
          <ac:chgData name="Sam Mesel" userId="1ee7badb-5d1f-4872-89ae-dcf7b71f276a" providerId="ADAL" clId="{53886FC4-CEC3-49C2-A16F-E052A3E85A45}" dt="2020-03-11T03:07:20.897" v="3511" actId="164"/>
          <ac:cxnSpMkLst>
            <pc:docMk/>
            <pc:sldMk cId="3635708424" sldId="674"/>
            <ac:cxnSpMk id="58" creationId="{89D58723-AFCA-4162-9425-ACEA1787F550}"/>
          </ac:cxnSpMkLst>
        </pc:cxnChg>
        <pc:cxnChg chg="add mod">
          <ac:chgData name="Sam Mesel" userId="1ee7badb-5d1f-4872-89ae-dcf7b71f276a" providerId="ADAL" clId="{53886FC4-CEC3-49C2-A16F-E052A3E85A45}" dt="2020-03-11T03:07:20.897" v="3511" actId="164"/>
          <ac:cxnSpMkLst>
            <pc:docMk/>
            <pc:sldMk cId="3635708424" sldId="674"/>
            <ac:cxnSpMk id="60" creationId="{6613F88F-17C0-4E7C-8618-00EAA11F86D3}"/>
          </ac:cxnSpMkLst>
        </pc:cxnChg>
        <pc:cxnChg chg="add del mod">
          <ac:chgData name="Sam Mesel" userId="1ee7badb-5d1f-4872-89ae-dcf7b71f276a" providerId="ADAL" clId="{53886FC4-CEC3-49C2-A16F-E052A3E85A45}" dt="2020-03-11T02:58:03.150" v="3400" actId="478"/>
          <ac:cxnSpMkLst>
            <pc:docMk/>
            <pc:sldMk cId="3635708424" sldId="674"/>
            <ac:cxnSpMk id="65" creationId="{7B102C7B-9E61-4B65-AD69-A44C3EAD19E6}"/>
          </ac:cxnSpMkLst>
        </pc:cxnChg>
      </pc:sldChg>
      <pc:sldChg chg="addSp delSp modSp new mod modAnim">
        <pc:chgData name="Sam Mesel" userId="1ee7badb-5d1f-4872-89ae-dcf7b71f276a" providerId="ADAL" clId="{53886FC4-CEC3-49C2-A16F-E052A3E85A45}" dt="2020-03-19T15:40:50.560" v="5397" actId="2085"/>
        <pc:sldMkLst>
          <pc:docMk/>
          <pc:sldMk cId="1383739927" sldId="675"/>
        </pc:sldMkLst>
        <pc:spChg chg="mod">
          <ac:chgData name="Sam Mesel" userId="1ee7badb-5d1f-4872-89ae-dcf7b71f276a" providerId="ADAL" clId="{53886FC4-CEC3-49C2-A16F-E052A3E85A45}" dt="2020-03-11T22:12:51.567" v="3702" actId="6549"/>
          <ac:spMkLst>
            <pc:docMk/>
            <pc:sldMk cId="1383739927" sldId="675"/>
            <ac:spMk id="2" creationId="{568E7BA0-D8D5-4850-BC40-A15AD7AE0E59}"/>
          </ac:spMkLst>
        </pc:spChg>
        <pc:spChg chg="mod">
          <ac:chgData name="Sam Mesel" userId="1ee7badb-5d1f-4872-89ae-dcf7b71f276a" providerId="ADAL" clId="{53886FC4-CEC3-49C2-A16F-E052A3E85A45}" dt="2020-03-11T03:11:37.714" v="3585" actId="20577"/>
          <ac:spMkLst>
            <pc:docMk/>
            <pc:sldMk cId="1383739927" sldId="675"/>
            <ac:spMk id="3" creationId="{34F4FEA9-3139-45B2-B37D-F151113CFB97}"/>
          </ac:spMkLst>
        </pc:spChg>
        <pc:spChg chg="del">
          <ac:chgData name="Sam Mesel" userId="1ee7badb-5d1f-4872-89ae-dcf7b71f276a" providerId="ADAL" clId="{53886FC4-CEC3-49C2-A16F-E052A3E85A45}" dt="2020-03-11T03:11:54.060" v="3586" actId="478"/>
          <ac:spMkLst>
            <pc:docMk/>
            <pc:sldMk cId="1383739927" sldId="675"/>
            <ac:spMk id="4" creationId="{1D6F1AB4-BC90-4AF5-B69D-0E63EA5AA9B7}"/>
          </ac:spMkLst>
        </pc:spChg>
        <pc:spChg chg="add mod ord">
          <ac:chgData name="Sam Mesel" userId="1ee7badb-5d1f-4872-89ae-dcf7b71f276a" providerId="ADAL" clId="{53886FC4-CEC3-49C2-A16F-E052A3E85A45}" dt="2020-03-11T22:24:26.686" v="3875" actId="14100"/>
          <ac:spMkLst>
            <pc:docMk/>
            <pc:sldMk cId="1383739927" sldId="675"/>
            <ac:spMk id="4" creationId="{C21AF9FA-2827-4241-929B-6AE5A19E8353}"/>
          </ac:spMkLst>
        </pc:spChg>
        <pc:spChg chg="add del">
          <ac:chgData name="Sam Mesel" userId="1ee7badb-5d1f-4872-89ae-dcf7b71f276a" providerId="ADAL" clId="{53886FC4-CEC3-49C2-A16F-E052A3E85A45}" dt="2020-03-11T03:12:42.407" v="3599" actId="478"/>
          <ac:spMkLst>
            <pc:docMk/>
            <pc:sldMk cId="1383739927" sldId="675"/>
            <ac:spMk id="5" creationId="{940B7DFF-F0B0-4633-8ADD-2C16AF4A3A01}"/>
          </ac:spMkLst>
        </pc:spChg>
        <pc:spChg chg="add">
          <ac:chgData name="Sam Mesel" userId="1ee7badb-5d1f-4872-89ae-dcf7b71f276a" providerId="ADAL" clId="{53886FC4-CEC3-49C2-A16F-E052A3E85A45}" dt="2020-03-11T03:11:55.076" v="3587"/>
          <ac:spMkLst>
            <pc:docMk/>
            <pc:sldMk cId="1383739927" sldId="675"/>
            <ac:spMk id="11" creationId="{745291EE-960D-40F5-BC9E-9B13ECFAB56C}"/>
          </ac:spMkLst>
        </pc:spChg>
        <pc:spChg chg="add">
          <ac:chgData name="Sam Mesel" userId="1ee7badb-5d1f-4872-89ae-dcf7b71f276a" providerId="ADAL" clId="{53886FC4-CEC3-49C2-A16F-E052A3E85A45}" dt="2020-03-11T03:11:55.076" v="3587"/>
          <ac:spMkLst>
            <pc:docMk/>
            <pc:sldMk cId="1383739927" sldId="675"/>
            <ac:spMk id="12" creationId="{455846FE-B523-462B-BD86-46BEDE3E53BE}"/>
          </ac:spMkLst>
        </pc:spChg>
        <pc:spChg chg="add">
          <ac:chgData name="Sam Mesel" userId="1ee7badb-5d1f-4872-89ae-dcf7b71f276a" providerId="ADAL" clId="{53886FC4-CEC3-49C2-A16F-E052A3E85A45}" dt="2020-03-11T03:11:55.076" v="3587"/>
          <ac:spMkLst>
            <pc:docMk/>
            <pc:sldMk cId="1383739927" sldId="675"/>
            <ac:spMk id="13" creationId="{F21B60C0-843A-487B-A187-26E9F460DC96}"/>
          </ac:spMkLst>
        </pc:spChg>
        <pc:spChg chg="add">
          <ac:chgData name="Sam Mesel" userId="1ee7badb-5d1f-4872-89ae-dcf7b71f276a" providerId="ADAL" clId="{53886FC4-CEC3-49C2-A16F-E052A3E85A45}" dt="2020-03-11T03:11:55.076" v="3587"/>
          <ac:spMkLst>
            <pc:docMk/>
            <pc:sldMk cId="1383739927" sldId="675"/>
            <ac:spMk id="14" creationId="{2C8C5B76-1E3D-4D10-86E4-F73F72EA7BA3}"/>
          </ac:spMkLst>
        </pc:spChg>
        <pc:spChg chg="mod">
          <ac:chgData name="Sam Mesel" userId="1ee7badb-5d1f-4872-89ae-dcf7b71f276a" providerId="ADAL" clId="{53886FC4-CEC3-49C2-A16F-E052A3E85A45}" dt="2020-03-19T15:40:38.029" v="5395" actId="207"/>
          <ac:spMkLst>
            <pc:docMk/>
            <pc:sldMk cId="1383739927" sldId="675"/>
            <ac:spMk id="20" creationId="{71214026-E9C1-40C9-B248-700C5931CE95}"/>
          </ac:spMkLst>
        </pc:spChg>
        <pc:spChg chg="mod">
          <ac:chgData name="Sam Mesel" userId="1ee7badb-5d1f-4872-89ae-dcf7b71f276a" providerId="ADAL" clId="{53886FC4-CEC3-49C2-A16F-E052A3E85A45}" dt="2020-03-19T15:40:20.185" v="5393" actId="208"/>
          <ac:spMkLst>
            <pc:docMk/>
            <pc:sldMk cId="1383739927" sldId="675"/>
            <ac:spMk id="21" creationId="{995E0997-7DEB-46EF-A0CA-210D496484EA}"/>
          </ac:spMkLst>
        </pc:spChg>
        <pc:spChg chg="mod">
          <ac:chgData name="Sam Mesel" userId="1ee7badb-5d1f-4872-89ae-dcf7b71f276a" providerId="ADAL" clId="{53886FC4-CEC3-49C2-A16F-E052A3E85A45}" dt="2020-03-19T15:40:20.185" v="5393" actId="208"/>
          <ac:spMkLst>
            <pc:docMk/>
            <pc:sldMk cId="1383739927" sldId="675"/>
            <ac:spMk id="22" creationId="{2CD2A3ED-E4F2-4B58-99B8-6C2ADA7B0446}"/>
          </ac:spMkLst>
        </pc:spChg>
        <pc:spChg chg="mod">
          <ac:chgData name="Sam Mesel" userId="1ee7badb-5d1f-4872-89ae-dcf7b71f276a" providerId="ADAL" clId="{53886FC4-CEC3-49C2-A16F-E052A3E85A45}" dt="2020-03-19T15:40:20.185" v="5393" actId="208"/>
          <ac:spMkLst>
            <pc:docMk/>
            <pc:sldMk cId="1383739927" sldId="675"/>
            <ac:spMk id="23" creationId="{AFE3FBD7-0A45-4A11-AB48-FD030D9C4640}"/>
          </ac:spMkLst>
        </pc:spChg>
        <pc:spChg chg="mod">
          <ac:chgData name="Sam Mesel" userId="1ee7badb-5d1f-4872-89ae-dcf7b71f276a" providerId="ADAL" clId="{53886FC4-CEC3-49C2-A16F-E052A3E85A45}" dt="2020-03-19T15:40:20.185" v="5393" actId="208"/>
          <ac:spMkLst>
            <pc:docMk/>
            <pc:sldMk cId="1383739927" sldId="675"/>
            <ac:spMk id="24" creationId="{E776B70A-9A76-4044-B8B0-8FC2FFDE6C1D}"/>
          </ac:spMkLst>
        </pc:spChg>
        <pc:spChg chg="mod">
          <ac:chgData name="Sam Mesel" userId="1ee7badb-5d1f-4872-89ae-dcf7b71f276a" providerId="ADAL" clId="{53886FC4-CEC3-49C2-A16F-E052A3E85A45}" dt="2020-03-19T15:40:20.185" v="5393" actId="208"/>
          <ac:spMkLst>
            <pc:docMk/>
            <pc:sldMk cId="1383739927" sldId="675"/>
            <ac:spMk id="25" creationId="{99250AD5-8646-4CBB-9517-7303D70D6F54}"/>
          </ac:spMkLst>
        </pc:spChg>
        <pc:spChg chg="mod">
          <ac:chgData name="Sam Mesel" userId="1ee7badb-5d1f-4872-89ae-dcf7b71f276a" providerId="ADAL" clId="{53886FC4-CEC3-49C2-A16F-E052A3E85A45}" dt="2020-03-19T15:40:20.185" v="5393" actId="208"/>
          <ac:spMkLst>
            <pc:docMk/>
            <pc:sldMk cId="1383739927" sldId="675"/>
            <ac:spMk id="26" creationId="{D3471596-9FFF-46C0-A33F-370F153BDEA7}"/>
          </ac:spMkLst>
        </pc:spChg>
        <pc:spChg chg="mod">
          <ac:chgData name="Sam Mesel" userId="1ee7badb-5d1f-4872-89ae-dcf7b71f276a" providerId="ADAL" clId="{53886FC4-CEC3-49C2-A16F-E052A3E85A45}" dt="2020-03-19T15:40:13.408" v="5391" actId="208"/>
          <ac:spMkLst>
            <pc:docMk/>
            <pc:sldMk cId="1383739927" sldId="675"/>
            <ac:spMk id="29" creationId="{75D31F9E-6FD2-482F-BF16-DE2093DA1EC8}"/>
          </ac:spMkLst>
        </pc:spChg>
        <pc:spChg chg="mod">
          <ac:chgData name="Sam Mesel" userId="1ee7badb-5d1f-4872-89ae-dcf7b71f276a" providerId="ADAL" clId="{53886FC4-CEC3-49C2-A16F-E052A3E85A45}" dt="2020-03-19T15:40:13.408" v="5391" actId="208"/>
          <ac:spMkLst>
            <pc:docMk/>
            <pc:sldMk cId="1383739927" sldId="675"/>
            <ac:spMk id="30" creationId="{36DD3026-4B1E-43F8-A7EA-4DC188CD5D7B}"/>
          </ac:spMkLst>
        </pc:spChg>
        <pc:spChg chg="mod">
          <ac:chgData name="Sam Mesel" userId="1ee7badb-5d1f-4872-89ae-dcf7b71f276a" providerId="ADAL" clId="{53886FC4-CEC3-49C2-A16F-E052A3E85A45}" dt="2020-03-19T15:40:13.408" v="5391" actId="208"/>
          <ac:spMkLst>
            <pc:docMk/>
            <pc:sldMk cId="1383739927" sldId="675"/>
            <ac:spMk id="31" creationId="{C5C204AA-D0BD-4461-93D2-205752B384B3}"/>
          </ac:spMkLst>
        </pc:spChg>
        <pc:spChg chg="mod">
          <ac:chgData name="Sam Mesel" userId="1ee7badb-5d1f-4872-89ae-dcf7b71f276a" providerId="ADAL" clId="{53886FC4-CEC3-49C2-A16F-E052A3E85A45}" dt="2020-03-19T15:40:13.408" v="5391" actId="208"/>
          <ac:spMkLst>
            <pc:docMk/>
            <pc:sldMk cId="1383739927" sldId="675"/>
            <ac:spMk id="32" creationId="{FBC372E4-8E46-4E0F-B8DC-D60895ECF1AE}"/>
          </ac:spMkLst>
        </pc:spChg>
        <pc:spChg chg="mod">
          <ac:chgData name="Sam Mesel" userId="1ee7badb-5d1f-4872-89ae-dcf7b71f276a" providerId="ADAL" clId="{53886FC4-CEC3-49C2-A16F-E052A3E85A45}" dt="2020-03-19T15:40:13.408" v="5391" actId="208"/>
          <ac:spMkLst>
            <pc:docMk/>
            <pc:sldMk cId="1383739927" sldId="675"/>
            <ac:spMk id="33" creationId="{BA545B4C-C0E9-4144-B672-008C7A8C65DB}"/>
          </ac:spMkLst>
        </pc:spChg>
        <pc:spChg chg="mod">
          <ac:chgData name="Sam Mesel" userId="1ee7badb-5d1f-4872-89ae-dcf7b71f276a" providerId="ADAL" clId="{53886FC4-CEC3-49C2-A16F-E052A3E85A45}" dt="2020-03-19T15:40:13.408" v="5391" actId="208"/>
          <ac:spMkLst>
            <pc:docMk/>
            <pc:sldMk cId="1383739927" sldId="675"/>
            <ac:spMk id="34" creationId="{52DC51BC-9863-43F8-BDAD-AFDE30B19BA8}"/>
          </ac:spMkLst>
        </pc:spChg>
        <pc:spChg chg="mod">
          <ac:chgData name="Sam Mesel" userId="1ee7badb-5d1f-4872-89ae-dcf7b71f276a" providerId="ADAL" clId="{53886FC4-CEC3-49C2-A16F-E052A3E85A45}" dt="2020-03-19T15:40:13.408" v="5391" actId="208"/>
          <ac:spMkLst>
            <pc:docMk/>
            <pc:sldMk cId="1383739927" sldId="675"/>
            <ac:spMk id="35" creationId="{B8A7F21B-F713-4D0C-9AE6-68EB4B0FC592}"/>
          </ac:spMkLst>
        </pc:spChg>
        <pc:spChg chg="mod">
          <ac:chgData name="Sam Mesel" userId="1ee7badb-5d1f-4872-89ae-dcf7b71f276a" providerId="ADAL" clId="{53886FC4-CEC3-49C2-A16F-E052A3E85A45}" dt="2020-03-19T15:40:13.408" v="5391" actId="208"/>
          <ac:spMkLst>
            <pc:docMk/>
            <pc:sldMk cId="1383739927" sldId="675"/>
            <ac:spMk id="36" creationId="{9BC6EDEE-F3A8-4BA1-914A-8A9B552432A5}"/>
          </ac:spMkLst>
        </pc:spChg>
        <pc:spChg chg="mod">
          <ac:chgData name="Sam Mesel" userId="1ee7badb-5d1f-4872-89ae-dcf7b71f276a" providerId="ADAL" clId="{53886FC4-CEC3-49C2-A16F-E052A3E85A45}" dt="2020-03-19T15:40:50.560" v="5397" actId="2085"/>
          <ac:spMkLst>
            <pc:docMk/>
            <pc:sldMk cId="1383739927" sldId="675"/>
            <ac:spMk id="37" creationId="{CED86474-28A1-477E-B760-1F8C8FB5A022}"/>
          </ac:spMkLst>
        </pc:spChg>
        <pc:spChg chg="add">
          <ac:chgData name="Sam Mesel" userId="1ee7badb-5d1f-4872-89ae-dcf7b71f276a" providerId="ADAL" clId="{53886FC4-CEC3-49C2-A16F-E052A3E85A45}" dt="2020-03-11T03:11:55.076" v="3587"/>
          <ac:spMkLst>
            <pc:docMk/>
            <pc:sldMk cId="1383739927" sldId="675"/>
            <ac:spMk id="38" creationId="{F14F7995-BA44-40E9-9688-471864B687D8}"/>
          </ac:spMkLst>
        </pc:spChg>
        <pc:spChg chg="add">
          <ac:chgData name="Sam Mesel" userId="1ee7badb-5d1f-4872-89ae-dcf7b71f276a" providerId="ADAL" clId="{53886FC4-CEC3-49C2-A16F-E052A3E85A45}" dt="2020-03-11T03:11:55.076" v="3587"/>
          <ac:spMkLst>
            <pc:docMk/>
            <pc:sldMk cId="1383739927" sldId="675"/>
            <ac:spMk id="53" creationId="{2C5C1A47-F6CD-4E42-B6DF-A1C35FEBCFD6}"/>
          </ac:spMkLst>
        </pc:spChg>
        <pc:spChg chg="add ord">
          <ac:chgData name="Sam Mesel" userId="1ee7badb-5d1f-4872-89ae-dcf7b71f276a" providerId="ADAL" clId="{53886FC4-CEC3-49C2-A16F-E052A3E85A45}" dt="2020-03-11T22:24:11.646" v="3850" actId="167"/>
          <ac:spMkLst>
            <pc:docMk/>
            <pc:sldMk cId="1383739927" sldId="675"/>
            <ac:spMk id="54" creationId="{0D366920-AABF-4CEB-845B-906966F33EA6}"/>
          </ac:spMkLst>
        </pc:spChg>
        <pc:spChg chg="add">
          <ac:chgData name="Sam Mesel" userId="1ee7badb-5d1f-4872-89ae-dcf7b71f276a" providerId="ADAL" clId="{53886FC4-CEC3-49C2-A16F-E052A3E85A45}" dt="2020-03-11T22:26:04.842" v="3879"/>
          <ac:spMkLst>
            <pc:docMk/>
            <pc:sldMk cId="1383739927" sldId="675"/>
            <ac:spMk id="56" creationId="{793972C5-BC52-45A1-86B1-9FEDF7952217}"/>
          </ac:spMkLst>
        </pc:spChg>
        <pc:grpChg chg="add">
          <ac:chgData name="Sam Mesel" userId="1ee7badb-5d1f-4872-89ae-dcf7b71f276a" providerId="ADAL" clId="{53886FC4-CEC3-49C2-A16F-E052A3E85A45}" dt="2020-03-11T03:11:55.076" v="3587"/>
          <ac:grpSpMkLst>
            <pc:docMk/>
            <pc:sldMk cId="1383739927" sldId="675"/>
            <ac:grpSpMk id="6" creationId="{DA4C3E3C-CCEA-47D5-AC48-2919BA4F97ED}"/>
          </ac:grpSpMkLst>
        </pc:grpChg>
        <pc:grpChg chg="add">
          <ac:chgData name="Sam Mesel" userId="1ee7badb-5d1f-4872-89ae-dcf7b71f276a" providerId="ADAL" clId="{53886FC4-CEC3-49C2-A16F-E052A3E85A45}" dt="2020-03-11T03:11:55.076" v="3587"/>
          <ac:grpSpMkLst>
            <pc:docMk/>
            <pc:sldMk cId="1383739927" sldId="675"/>
            <ac:grpSpMk id="18" creationId="{0FCC5C94-11BD-43F4-A013-C1D7B5BB3BDB}"/>
          </ac:grpSpMkLst>
        </pc:grpChg>
        <pc:grpChg chg="add">
          <ac:chgData name="Sam Mesel" userId="1ee7badb-5d1f-4872-89ae-dcf7b71f276a" providerId="ADAL" clId="{53886FC4-CEC3-49C2-A16F-E052A3E85A45}" dt="2020-03-11T03:11:55.076" v="3587"/>
          <ac:grpSpMkLst>
            <pc:docMk/>
            <pc:sldMk cId="1383739927" sldId="675"/>
            <ac:grpSpMk id="28" creationId="{577D5724-E572-4602-9D45-6FCC1996A959}"/>
          </ac:grpSpMkLst>
        </pc:grpChg>
        <pc:grpChg chg="add">
          <ac:chgData name="Sam Mesel" userId="1ee7badb-5d1f-4872-89ae-dcf7b71f276a" providerId="ADAL" clId="{53886FC4-CEC3-49C2-A16F-E052A3E85A45}" dt="2020-03-11T03:11:55.076" v="3587"/>
          <ac:grpSpMkLst>
            <pc:docMk/>
            <pc:sldMk cId="1383739927" sldId="675"/>
            <ac:grpSpMk id="39" creationId="{E74F4B54-123B-4A4D-88B5-DBFB2255DAD6}"/>
          </ac:grpSpMkLst>
        </pc:grpChg>
        <pc:grpChg chg="add">
          <ac:chgData name="Sam Mesel" userId="1ee7badb-5d1f-4872-89ae-dcf7b71f276a" providerId="ADAL" clId="{53886FC4-CEC3-49C2-A16F-E052A3E85A45}" dt="2020-03-11T03:11:55.076" v="3587"/>
          <ac:grpSpMkLst>
            <pc:docMk/>
            <pc:sldMk cId="1383739927" sldId="675"/>
            <ac:grpSpMk id="46" creationId="{83CFCD7F-839D-4E47-8176-0532CDCB787A}"/>
          </ac:grpSpMkLst>
        </pc:grpChg>
        <pc:cxnChg chg="add">
          <ac:chgData name="Sam Mesel" userId="1ee7badb-5d1f-4872-89ae-dcf7b71f276a" providerId="ADAL" clId="{53886FC4-CEC3-49C2-A16F-E052A3E85A45}" dt="2020-03-11T03:11:55.076" v="3587"/>
          <ac:cxnSpMkLst>
            <pc:docMk/>
            <pc:sldMk cId="1383739927" sldId="675"/>
            <ac:cxnSpMk id="15" creationId="{C9B5FFC4-189A-46CD-9920-6D2630CDEF36}"/>
          </ac:cxnSpMkLst>
        </pc:cxnChg>
        <pc:cxnChg chg="add">
          <ac:chgData name="Sam Mesel" userId="1ee7badb-5d1f-4872-89ae-dcf7b71f276a" providerId="ADAL" clId="{53886FC4-CEC3-49C2-A16F-E052A3E85A45}" dt="2020-03-11T03:11:55.076" v="3587"/>
          <ac:cxnSpMkLst>
            <pc:docMk/>
            <pc:sldMk cId="1383739927" sldId="675"/>
            <ac:cxnSpMk id="16" creationId="{EF76135C-3230-4137-9072-13FF2C8A59E7}"/>
          </ac:cxnSpMkLst>
        </pc:cxnChg>
        <pc:cxnChg chg="add mod">
          <ac:chgData name="Sam Mesel" userId="1ee7badb-5d1f-4872-89ae-dcf7b71f276a" providerId="ADAL" clId="{53886FC4-CEC3-49C2-A16F-E052A3E85A45}" dt="2020-03-19T15:40:00.890" v="5389" actId="208"/>
          <ac:cxnSpMkLst>
            <pc:docMk/>
            <pc:sldMk cId="1383739927" sldId="675"/>
            <ac:cxnSpMk id="17" creationId="{643082BB-1DAC-46B5-AD16-D4C3DFA75C77}"/>
          </ac:cxnSpMkLst>
        </pc:cxnChg>
        <pc:cxnChg chg="add mod">
          <ac:chgData name="Sam Mesel" userId="1ee7badb-5d1f-4872-89ae-dcf7b71f276a" providerId="ADAL" clId="{53886FC4-CEC3-49C2-A16F-E052A3E85A45}" dt="2020-03-19T15:40:00.890" v="5389" actId="208"/>
          <ac:cxnSpMkLst>
            <pc:docMk/>
            <pc:sldMk cId="1383739927" sldId="675"/>
            <ac:cxnSpMk id="27" creationId="{F78CFC91-2C6C-4F8D-B21B-0A871945768C}"/>
          </ac:cxnSpMkLst>
        </pc:cxnChg>
        <pc:cxnChg chg="add mod">
          <ac:chgData name="Sam Mesel" userId="1ee7badb-5d1f-4872-89ae-dcf7b71f276a" providerId="ADAL" clId="{53886FC4-CEC3-49C2-A16F-E052A3E85A45}" dt="2020-03-19T15:40:00.890" v="5389" actId="208"/>
          <ac:cxnSpMkLst>
            <pc:docMk/>
            <pc:sldMk cId="1383739927" sldId="675"/>
            <ac:cxnSpMk id="44" creationId="{32D861F1-47FA-4FD0-AAF3-67E81001C59F}"/>
          </ac:cxnSpMkLst>
        </pc:cxnChg>
        <pc:cxnChg chg="add mod">
          <ac:chgData name="Sam Mesel" userId="1ee7badb-5d1f-4872-89ae-dcf7b71f276a" providerId="ADAL" clId="{53886FC4-CEC3-49C2-A16F-E052A3E85A45}" dt="2020-03-19T15:40:00.890" v="5389" actId="208"/>
          <ac:cxnSpMkLst>
            <pc:docMk/>
            <pc:sldMk cId="1383739927" sldId="675"/>
            <ac:cxnSpMk id="45" creationId="{4EC54C35-C4F0-413D-A319-A8372E00AA46}"/>
          </ac:cxnSpMkLst>
        </pc:cxnChg>
        <pc:cxnChg chg="add mod">
          <ac:chgData name="Sam Mesel" userId="1ee7badb-5d1f-4872-89ae-dcf7b71f276a" providerId="ADAL" clId="{53886FC4-CEC3-49C2-A16F-E052A3E85A45}" dt="2020-03-19T15:40:00.890" v="5389" actId="208"/>
          <ac:cxnSpMkLst>
            <pc:docMk/>
            <pc:sldMk cId="1383739927" sldId="675"/>
            <ac:cxnSpMk id="51" creationId="{3DD34FFF-5C36-4065-93FB-ABFCF736EC8E}"/>
          </ac:cxnSpMkLst>
        </pc:cxnChg>
        <pc:cxnChg chg="add mod">
          <ac:chgData name="Sam Mesel" userId="1ee7badb-5d1f-4872-89ae-dcf7b71f276a" providerId="ADAL" clId="{53886FC4-CEC3-49C2-A16F-E052A3E85A45}" dt="2020-03-19T15:40:00.890" v="5389" actId="208"/>
          <ac:cxnSpMkLst>
            <pc:docMk/>
            <pc:sldMk cId="1383739927" sldId="675"/>
            <ac:cxnSpMk id="52" creationId="{5012F121-8805-4428-8D42-E58E48F7130A}"/>
          </ac:cxnSpMkLst>
        </pc:cxnChg>
      </pc:sldChg>
      <pc:sldChg chg="addSp delSp modSp new mod modAnim">
        <pc:chgData name="Sam Mesel" userId="1ee7badb-5d1f-4872-89ae-dcf7b71f276a" providerId="ADAL" clId="{53886FC4-CEC3-49C2-A16F-E052A3E85A45}" dt="2020-03-19T15:42:03.900" v="5410" actId="2085"/>
        <pc:sldMkLst>
          <pc:docMk/>
          <pc:sldMk cId="1910299488" sldId="676"/>
        </pc:sldMkLst>
        <pc:spChg chg="mod">
          <ac:chgData name="Sam Mesel" userId="1ee7badb-5d1f-4872-89ae-dcf7b71f276a" providerId="ADAL" clId="{53886FC4-CEC3-49C2-A16F-E052A3E85A45}" dt="2020-03-11T22:12:59.829" v="3716" actId="20577"/>
          <ac:spMkLst>
            <pc:docMk/>
            <pc:sldMk cId="1910299488" sldId="676"/>
            <ac:spMk id="2" creationId="{F5EC45B4-2518-4042-9719-4798F8CB6FE0}"/>
          </ac:spMkLst>
        </pc:spChg>
        <pc:spChg chg="mod">
          <ac:chgData name="Sam Mesel" userId="1ee7badb-5d1f-4872-89ae-dcf7b71f276a" providerId="ADAL" clId="{53886FC4-CEC3-49C2-A16F-E052A3E85A45}" dt="2020-03-11T03:12:13.889" v="3593" actId="20577"/>
          <ac:spMkLst>
            <pc:docMk/>
            <pc:sldMk cId="1910299488" sldId="676"/>
            <ac:spMk id="3" creationId="{A2F8EC5C-C882-4892-B83F-660BAA3B1232}"/>
          </ac:spMkLst>
        </pc:spChg>
        <pc:spChg chg="add">
          <ac:chgData name="Sam Mesel" userId="1ee7badb-5d1f-4872-89ae-dcf7b71f276a" providerId="ADAL" clId="{53886FC4-CEC3-49C2-A16F-E052A3E85A45}" dt="2020-03-11T22:27:48.539" v="3882" actId="22"/>
          <ac:spMkLst>
            <pc:docMk/>
            <pc:sldMk cId="1910299488" sldId="676"/>
            <ac:spMk id="4" creationId="{42A8BD2A-51A7-4C01-9A68-DCFB01198677}"/>
          </ac:spMkLst>
        </pc:spChg>
        <pc:spChg chg="del">
          <ac:chgData name="Sam Mesel" userId="1ee7badb-5d1f-4872-89ae-dcf7b71f276a" providerId="ADAL" clId="{53886FC4-CEC3-49C2-A16F-E052A3E85A45}" dt="2020-03-11T03:12:31.237" v="3596" actId="478"/>
          <ac:spMkLst>
            <pc:docMk/>
            <pc:sldMk cId="1910299488" sldId="676"/>
            <ac:spMk id="4" creationId="{7EF005F8-F6A5-48C3-A72E-B3B1DAEF07D9}"/>
          </ac:spMkLst>
        </pc:spChg>
        <pc:spChg chg="add">
          <ac:chgData name="Sam Mesel" userId="1ee7badb-5d1f-4872-89ae-dcf7b71f276a" providerId="ADAL" clId="{53886FC4-CEC3-49C2-A16F-E052A3E85A45}" dt="2020-03-11T22:27:48.539" v="3882" actId="22"/>
          <ac:spMkLst>
            <pc:docMk/>
            <pc:sldMk cId="1910299488" sldId="676"/>
            <ac:spMk id="5" creationId="{C8254CD0-D936-4654-BE96-CC950A44CCC6}"/>
          </ac:spMkLst>
        </pc:spChg>
        <pc:spChg chg="add del">
          <ac:chgData name="Sam Mesel" userId="1ee7badb-5d1f-4872-89ae-dcf7b71f276a" providerId="ADAL" clId="{53886FC4-CEC3-49C2-A16F-E052A3E85A45}" dt="2020-03-11T03:12:29.214" v="3595"/>
          <ac:spMkLst>
            <pc:docMk/>
            <pc:sldMk cId="1910299488" sldId="676"/>
            <ac:spMk id="5" creationId="{E49F922C-55C0-4BFA-91D4-663B9064A49E}"/>
          </ac:spMkLst>
        </pc:spChg>
        <pc:spChg chg="add del">
          <ac:chgData name="Sam Mesel" userId="1ee7badb-5d1f-4872-89ae-dcf7b71f276a" providerId="ADAL" clId="{53886FC4-CEC3-49C2-A16F-E052A3E85A45}" dt="2020-03-11T03:12:29.214" v="3595"/>
          <ac:spMkLst>
            <pc:docMk/>
            <pc:sldMk cId="1910299488" sldId="676"/>
            <ac:spMk id="11" creationId="{A9385CFE-02DA-4031-B3D5-850492F21647}"/>
          </ac:spMkLst>
        </pc:spChg>
        <pc:spChg chg="add del">
          <ac:chgData name="Sam Mesel" userId="1ee7badb-5d1f-4872-89ae-dcf7b71f276a" providerId="ADAL" clId="{53886FC4-CEC3-49C2-A16F-E052A3E85A45}" dt="2020-03-11T03:12:29.214" v="3595"/>
          <ac:spMkLst>
            <pc:docMk/>
            <pc:sldMk cId="1910299488" sldId="676"/>
            <ac:spMk id="12" creationId="{03FDD082-1012-4313-A3DE-B27E5ACA9FD2}"/>
          </ac:spMkLst>
        </pc:spChg>
        <pc:spChg chg="add del">
          <ac:chgData name="Sam Mesel" userId="1ee7badb-5d1f-4872-89ae-dcf7b71f276a" providerId="ADAL" clId="{53886FC4-CEC3-49C2-A16F-E052A3E85A45}" dt="2020-03-11T03:12:29.214" v="3595"/>
          <ac:spMkLst>
            <pc:docMk/>
            <pc:sldMk cId="1910299488" sldId="676"/>
            <ac:spMk id="13" creationId="{4EABFF0E-87C6-4354-918F-4576945107FE}"/>
          </ac:spMkLst>
        </pc:spChg>
        <pc:spChg chg="add del">
          <ac:chgData name="Sam Mesel" userId="1ee7badb-5d1f-4872-89ae-dcf7b71f276a" providerId="ADAL" clId="{53886FC4-CEC3-49C2-A16F-E052A3E85A45}" dt="2020-03-11T03:12:29.214" v="3595"/>
          <ac:spMkLst>
            <pc:docMk/>
            <pc:sldMk cId="1910299488" sldId="676"/>
            <ac:spMk id="14" creationId="{C0EC10B6-927A-4CB5-8212-DF99F9E34253}"/>
          </ac:spMkLst>
        </pc:spChg>
        <pc:spChg chg="add del">
          <ac:chgData name="Sam Mesel" userId="1ee7badb-5d1f-4872-89ae-dcf7b71f276a" providerId="ADAL" clId="{53886FC4-CEC3-49C2-A16F-E052A3E85A45}" dt="2020-03-11T03:12:29.214" v="3595"/>
          <ac:spMkLst>
            <pc:docMk/>
            <pc:sldMk cId="1910299488" sldId="676"/>
            <ac:spMk id="38" creationId="{96D1B076-3713-4184-AD7C-E3861A2FF93C}"/>
          </ac:spMkLst>
        </pc:spChg>
        <pc:spChg chg="add del">
          <ac:chgData name="Sam Mesel" userId="1ee7badb-5d1f-4872-89ae-dcf7b71f276a" providerId="ADAL" clId="{53886FC4-CEC3-49C2-A16F-E052A3E85A45}" dt="2020-03-11T03:12:29.214" v="3595"/>
          <ac:spMkLst>
            <pc:docMk/>
            <pc:sldMk cId="1910299488" sldId="676"/>
            <ac:spMk id="53" creationId="{5F7A2A89-0C70-4C0A-82EE-66E4DBB8D419}"/>
          </ac:spMkLst>
        </pc:spChg>
        <pc:spChg chg="add">
          <ac:chgData name="Sam Mesel" userId="1ee7badb-5d1f-4872-89ae-dcf7b71f276a" providerId="ADAL" clId="{53886FC4-CEC3-49C2-A16F-E052A3E85A45}" dt="2020-03-11T22:25:23.298" v="3877"/>
          <ac:spMkLst>
            <pc:docMk/>
            <pc:sldMk cId="1910299488" sldId="676"/>
            <ac:spMk id="53" creationId="{6E57E663-FB83-4C88-88E9-F8F2334CC82E}"/>
          </ac:spMkLst>
        </pc:spChg>
        <pc:spChg chg="add del">
          <ac:chgData name="Sam Mesel" userId="1ee7badb-5d1f-4872-89ae-dcf7b71f276a" providerId="ADAL" clId="{53886FC4-CEC3-49C2-A16F-E052A3E85A45}" dt="2020-03-11T03:12:29.214" v="3595"/>
          <ac:spMkLst>
            <pc:docMk/>
            <pc:sldMk cId="1910299488" sldId="676"/>
            <ac:spMk id="54" creationId="{7D7444FE-E8E8-4B20-AA84-E4377308F411}"/>
          </ac:spMkLst>
        </pc:spChg>
        <pc:spChg chg="add del">
          <ac:chgData name="Sam Mesel" userId="1ee7badb-5d1f-4872-89ae-dcf7b71f276a" providerId="ADAL" clId="{53886FC4-CEC3-49C2-A16F-E052A3E85A45}" dt="2020-03-11T03:12:37.721" v="3598" actId="478"/>
          <ac:spMkLst>
            <pc:docMk/>
            <pc:sldMk cId="1910299488" sldId="676"/>
            <ac:spMk id="55" creationId="{FC440F96-4D56-4980-8FBE-88BCAF8A8F9B}"/>
          </ac:spMkLst>
        </pc:spChg>
        <pc:spChg chg="add">
          <ac:chgData name="Sam Mesel" userId="1ee7badb-5d1f-4872-89ae-dcf7b71f276a" providerId="ADAL" clId="{53886FC4-CEC3-49C2-A16F-E052A3E85A45}" dt="2020-03-11T03:12:32.212" v="3597"/>
          <ac:spMkLst>
            <pc:docMk/>
            <pc:sldMk cId="1910299488" sldId="676"/>
            <ac:spMk id="61" creationId="{FC1014D1-A68E-4D35-A1CA-F7E4C83934A3}"/>
          </ac:spMkLst>
        </pc:spChg>
        <pc:spChg chg="add">
          <ac:chgData name="Sam Mesel" userId="1ee7badb-5d1f-4872-89ae-dcf7b71f276a" providerId="ADAL" clId="{53886FC4-CEC3-49C2-A16F-E052A3E85A45}" dt="2020-03-11T03:12:32.212" v="3597"/>
          <ac:spMkLst>
            <pc:docMk/>
            <pc:sldMk cId="1910299488" sldId="676"/>
            <ac:spMk id="62" creationId="{C7407976-94DC-4F27-A229-DC047E4CF931}"/>
          </ac:spMkLst>
        </pc:spChg>
        <pc:spChg chg="add">
          <ac:chgData name="Sam Mesel" userId="1ee7badb-5d1f-4872-89ae-dcf7b71f276a" providerId="ADAL" clId="{53886FC4-CEC3-49C2-A16F-E052A3E85A45}" dt="2020-03-11T03:12:32.212" v="3597"/>
          <ac:spMkLst>
            <pc:docMk/>
            <pc:sldMk cId="1910299488" sldId="676"/>
            <ac:spMk id="63" creationId="{33F92CCA-2588-4388-B3A3-4618C82B6F90}"/>
          </ac:spMkLst>
        </pc:spChg>
        <pc:spChg chg="add">
          <ac:chgData name="Sam Mesel" userId="1ee7badb-5d1f-4872-89ae-dcf7b71f276a" providerId="ADAL" clId="{53886FC4-CEC3-49C2-A16F-E052A3E85A45}" dt="2020-03-11T03:12:32.212" v="3597"/>
          <ac:spMkLst>
            <pc:docMk/>
            <pc:sldMk cId="1910299488" sldId="676"/>
            <ac:spMk id="64" creationId="{4CB93468-D516-4DB3-8E84-35E5D9B0CB4C}"/>
          </ac:spMkLst>
        </pc:spChg>
        <pc:spChg chg="mod">
          <ac:chgData name="Sam Mesel" userId="1ee7badb-5d1f-4872-89ae-dcf7b71f276a" providerId="ADAL" clId="{53886FC4-CEC3-49C2-A16F-E052A3E85A45}" dt="2020-03-19T15:41:59.950" v="5409" actId="2085"/>
          <ac:spMkLst>
            <pc:docMk/>
            <pc:sldMk cId="1910299488" sldId="676"/>
            <ac:spMk id="70" creationId="{429607E9-A155-4F98-89ED-842039E57488}"/>
          </ac:spMkLst>
        </pc:spChg>
        <pc:spChg chg="mod">
          <ac:chgData name="Sam Mesel" userId="1ee7badb-5d1f-4872-89ae-dcf7b71f276a" providerId="ADAL" clId="{53886FC4-CEC3-49C2-A16F-E052A3E85A45}" dt="2020-03-19T15:41:52.934" v="5408" actId="208"/>
          <ac:spMkLst>
            <pc:docMk/>
            <pc:sldMk cId="1910299488" sldId="676"/>
            <ac:spMk id="71" creationId="{03B018B5-0FB6-40C4-B59E-4B65E96C82BC}"/>
          </ac:spMkLst>
        </pc:spChg>
        <pc:spChg chg="mod">
          <ac:chgData name="Sam Mesel" userId="1ee7badb-5d1f-4872-89ae-dcf7b71f276a" providerId="ADAL" clId="{53886FC4-CEC3-49C2-A16F-E052A3E85A45}" dt="2020-03-19T15:41:52.934" v="5408" actId="208"/>
          <ac:spMkLst>
            <pc:docMk/>
            <pc:sldMk cId="1910299488" sldId="676"/>
            <ac:spMk id="72" creationId="{63DD1337-542F-4F19-BA9C-7A90ECD77246}"/>
          </ac:spMkLst>
        </pc:spChg>
        <pc:spChg chg="mod">
          <ac:chgData name="Sam Mesel" userId="1ee7badb-5d1f-4872-89ae-dcf7b71f276a" providerId="ADAL" clId="{53886FC4-CEC3-49C2-A16F-E052A3E85A45}" dt="2020-03-19T15:41:52.934" v="5408" actId="208"/>
          <ac:spMkLst>
            <pc:docMk/>
            <pc:sldMk cId="1910299488" sldId="676"/>
            <ac:spMk id="73" creationId="{4091CFAD-B84E-4383-A4FC-EAF42ED096A9}"/>
          </ac:spMkLst>
        </pc:spChg>
        <pc:spChg chg="mod">
          <ac:chgData name="Sam Mesel" userId="1ee7badb-5d1f-4872-89ae-dcf7b71f276a" providerId="ADAL" clId="{53886FC4-CEC3-49C2-A16F-E052A3E85A45}" dt="2020-03-19T15:41:52.934" v="5408" actId="208"/>
          <ac:spMkLst>
            <pc:docMk/>
            <pc:sldMk cId="1910299488" sldId="676"/>
            <ac:spMk id="74" creationId="{767E2BB5-F5EE-46FA-98E1-9A20174D835B}"/>
          </ac:spMkLst>
        </pc:spChg>
        <pc:spChg chg="mod">
          <ac:chgData name="Sam Mesel" userId="1ee7badb-5d1f-4872-89ae-dcf7b71f276a" providerId="ADAL" clId="{53886FC4-CEC3-49C2-A16F-E052A3E85A45}" dt="2020-03-19T15:41:52.934" v="5408" actId="208"/>
          <ac:spMkLst>
            <pc:docMk/>
            <pc:sldMk cId="1910299488" sldId="676"/>
            <ac:spMk id="75" creationId="{42AB71E8-99BB-495A-9A79-87A2D3ED7822}"/>
          </ac:spMkLst>
        </pc:spChg>
        <pc:spChg chg="mod">
          <ac:chgData name="Sam Mesel" userId="1ee7badb-5d1f-4872-89ae-dcf7b71f276a" providerId="ADAL" clId="{53886FC4-CEC3-49C2-A16F-E052A3E85A45}" dt="2020-03-19T15:41:52.934" v="5408" actId="208"/>
          <ac:spMkLst>
            <pc:docMk/>
            <pc:sldMk cId="1910299488" sldId="676"/>
            <ac:spMk id="76" creationId="{666D6965-266D-4376-9407-8C3FBF0EFDB3}"/>
          </ac:spMkLst>
        </pc:spChg>
        <pc:spChg chg="mod">
          <ac:chgData name="Sam Mesel" userId="1ee7badb-5d1f-4872-89ae-dcf7b71f276a" providerId="ADAL" clId="{53886FC4-CEC3-49C2-A16F-E052A3E85A45}" dt="2020-03-19T15:41:21.510" v="5401" actId="208"/>
          <ac:spMkLst>
            <pc:docMk/>
            <pc:sldMk cId="1910299488" sldId="676"/>
            <ac:spMk id="79" creationId="{13DE2784-6ED3-4884-9959-7DBFBDCF11E3}"/>
          </ac:spMkLst>
        </pc:spChg>
        <pc:spChg chg="mod">
          <ac:chgData name="Sam Mesel" userId="1ee7badb-5d1f-4872-89ae-dcf7b71f276a" providerId="ADAL" clId="{53886FC4-CEC3-49C2-A16F-E052A3E85A45}" dt="2020-03-19T15:41:21.510" v="5401" actId="208"/>
          <ac:spMkLst>
            <pc:docMk/>
            <pc:sldMk cId="1910299488" sldId="676"/>
            <ac:spMk id="80" creationId="{1072EA0A-C2F4-44B7-A39E-3C26C324A918}"/>
          </ac:spMkLst>
        </pc:spChg>
        <pc:spChg chg="mod">
          <ac:chgData name="Sam Mesel" userId="1ee7badb-5d1f-4872-89ae-dcf7b71f276a" providerId="ADAL" clId="{53886FC4-CEC3-49C2-A16F-E052A3E85A45}" dt="2020-03-19T15:41:21.510" v="5401" actId="208"/>
          <ac:spMkLst>
            <pc:docMk/>
            <pc:sldMk cId="1910299488" sldId="676"/>
            <ac:spMk id="81" creationId="{CA5A9034-CBA0-4AA2-9388-DB906FA01E54}"/>
          </ac:spMkLst>
        </pc:spChg>
        <pc:spChg chg="mod">
          <ac:chgData name="Sam Mesel" userId="1ee7badb-5d1f-4872-89ae-dcf7b71f276a" providerId="ADAL" clId="{53886FC4-CEC3-49C2-A16F-E052A3E85A45}" dt="2020-03-19T15:41:21.510" v="5401" actId="208"/>
          <ac:spMkLst>
            <pc:docMk/>
            <pc:sldMk cId="1910299488" sldId="676"/>
            <ac:spMk id="82" creationId="{94D7E74D-553F-4EED-BFA4-8B27CF20DBD8}"/>
          </ac:spMkLst>
        </pc:spChg>
        <pc:spChg chg="mod">
          <ac:chgData name="Sam Mesel" userId="1ee7badb-5d1f-4872-89ae-dcf7b71f276a" providerId="ADAL" clId="{53886FC4-CEC3-49C2-A16F-E052A3E85A45}" dt="2020-03-19T15:41:21.510" v="5401" actId="208"/>
          <ac:spMkLst>
            <pc:docMk/>
            <pc:sldMk cId="1910299488" sldId="676"/>
            <ac:spMk id="83" creationId="{AE35465B-6B71-4EC8-A1CE-D4E8898476D1}"/>
          </ac:spMkLst>
        </pc:spChg>
        <pc:spChg chg="mod">
          <ac:chgData name="Sam Mesel" userId="1ee7badb-5d1f-4872-89ae-dcf7b71f276a" providerId="ADAL" clId="{53886FC4-CEC3-49C2-A16F-E052A3E85A45}" dt="2020-03-19T15:41:21.510" v="5401" actId="208"/>
          <ac:spMkLst>
            <pc:docMk/>
            <pc:sldMk cId="1910299488" sldId="676"/>
            <ac:spMk id="84" creationId="{F9230EBE-D858-4F4B-B09D-5AD06CB4F88E}"/>
          </ac:spMkLst>
        </pc:spChg>
        <pc:spChg chg="mod">
          <ac:chgData name="Sam Mesel" userId="1ee7badb-5d1f-4872-89ae-dcf7b71f276a" providerId="ADAL" clId="{53886FC4-CEC3-49C2-A16F-E052A3E85A45}" dt="2020-03-19T15:41:21.510" v="5401" actId="208"/>
          <ac:spMkLst>
            <pc:docMk/>
            <pc:sldMk cId="1910299488" sldId="676"/>
            <ac:spMk id="85" creationId="{3501FA7C-FB04-4404-8649-FEF4F3A94C4F}"/>
          </ac:spMkLst>
        </pc:spChg>
        <pc:spChg chg="mod">
          <ac:chgData name="Sam Mesel" userId="1ee7badb-5d1f-4872-89ae-dcf7b71f276a" providerId="ADAL" clId="{53886FC4-CEC3-49C2-A16F-E052A3E85A45}" dt="2020-03-19T15:41:21.510" v="5401" actId="208"/>
          <ac:spMkLst>
            <pc:docMk/>
            <pc:sldMk cId="1910299488" sldId="676"/>
            <ac:spMk id="86" creationId="{FB51A977-92AA-4058-8161-3C5D09DF48E9}"/>
          </ac:spMkLst>
        </pc:spChg>
        <pc:spChg chg="mod">
          <ac:chgData name="Sam Mesel" userId="1ee7badb-5d1f-4872-89ae-dcf7b71f276a" providerId="ADAL" clId="{53886FC4-CEC3-49C2-A16F-E052A3E85A45}" dt="2020-03-19T15:42:03.900" v="5410" actId="2085"/>
          <ac:spMkLst>
            <pc:docMk/>
            <pc:sldMk cId="1910299488" sldId="676"/>
            <ac:spMk id="87" creationId="{CD8DFB40-AC87-4BAE-9BE9-F2CDFCD23B00}"/>
          </ac:spMkLst>
        </pc:spChg>
        <pc:spChg chg="add">
          <ac:chgData name="Sam Mesel" userId="1ee7badb-5d1f-4872-89ae-dcf7b71f276a" providerId="ADAL" clId="{53886FC4-CEC3-49C2-A16F-E052A3E85A45}" dt="2020-03-11T03:12:32.212" v="3597"/>
          <ac:spMkLst>
            <pc:docMk/>
            <pc:sldMk cId="1910299488" sldId="676"/>
            <ac:spMk id="88" creationId="{55D369F4-AB72-4B52-808D-5E00D542C2C9}"/>
          </ac:spMkLst>
        </pc:spChg>
        <pc:spChg chg="add">
          <ac:chgData name="Sam Mesel" userId="1ee7badb-5d1f-4872-89ae-dcf7b71f276a" providerId="ADAL" clId="{53886FC4-CEC3-49C2-A16F-E052A3E85A45}" dt="2020-03-11T03:12:32.212" v="3597"/>
          <ac:spMkLst>
            <pc:docMk/>
            <pc:sldMk cId="1910299488" sldId="676"/>
            <ac:spMk id="103" creationId="{A3BBBF23-F4C5-4582-BA00-A41BB5E767BA}"/>
          </ac:spMkLst>
        </pc:spChg>
        <pc:spChg chg="add">
          <ac:chgData name="Sam Mesel" userId="1ee7badb-5d1f-4872-89ae-dcf7b71f276a" providerId="ADAL" clId="{53886FC4-CEC3-49C2-A16F-E052A3E85A45}" dt="2020-03-11T03:12:32.212" v="3597"/>
          <ac:spMkLst>
            <pc:docMk/>
            <pc:sldMk cId="1910299488" sldId="676"/>
            <ac:spMk id="104" creationId="{8E3B0960-7483-4176-88F5-B666A574776D}"/>
          </ac:spMkLst>
        </pc:spChg>
        <pc:grpChg chg="add del">
          <ac:chgData name="Sam Mesel" userId="1ee7badb-5d1f-4872-89ae-dcf7b71f276a" providerId="ADAL" clId="{53886FC4-CEC3-49C2-A16F-E052A3E85A45}" dt="2020-03-11T03:12:29.214" v="3595"/>
          <ac:grpSpMkLst>
            <pc:docMk/>
            <pc:sldMk cId="1910299488" sldId="676"/>
            <ac:grpSpMk id="6" creationId="{A71DDC60-4C99-49B4-9807-77024BDD10C5}"/>
          </ac:grpSpMkLst>
        </pc:grpChg>
        <pc:grpChg chg="add del">
          <ac:chgData name="Sam Mesel" userId="1ee7badb-5d1f-4872-89ae-dcf7b71f276a" providerId="ADAL" clId="{53886FC4-CEC3-49C2-A16F-E052A3E85A45}" dt="2020-03-11T03:12:29.214" v="3595"/>
          <ac:grpSpMkLst>
            <pc:docMk/>
            <pc:sldMk cId="1910299488" sldId="676"/>
            <ac:grpSpMk id="18" creationId="{79A8B21E-2316-4C45-86EC-05404CE9A228}"/>
          </ac:grpSpMkLst>
        </pc:grpChg>
        <pc:grpChg chg="add del">
          <ac:chgData name="Sam Mesel" userId="1ee7badb-5d1f-4872-89ae-dcf7b71f276a" providerId="ADAL" clId="{53886FC4-CEC3-49C2-A16F-E052A3E85A45}" dt="2020-03-11T03:12:29.214" v="3595"/>
          <ac:grpSpMkLst>
            <pc:docMk/>
            <pc:sldMk cId="1910299488" sldId="676"/>
            <ac:grpSpMk id="28" creationId="{80AB5C1F-EB74-4BE2-B82B-28E046D6459B}"/>
          </ac:grpSpMkLst>
        </pc:grpChg>
        <pc:grpChg chg="add del">
          <ac:chgData name="Sam Mesel" userId="1ee7badb-5d1f-4872-89ae-dcf7b71f276a" providerId="ADAL" clId="{53886FC4-CEC3-49C2-A16F-E052A3E85A45}" dt="2020-03-11T03:12:29.214" v="3595"/>
          <ac:grpSpMkLst>
            <pc:docMk/>
            <pc:sldMk cId="1910299488" sldId="676"/>
            <ac:grpSpMk id="39" creationId="{3A32051F-A873-4518-98A6-E01F18F9998E}"/>
          </ac:grpSpMkLst>
        </pc:grpChg>
        <pc:grpChg chg="add del">
          <ac:chgData name="Sam Mesel" userId="1ee7badb-5d1f-4872-89ae-dcf7b71f276a" providerId="ADAL" clId="{53886FC4-CEC3-49C2-A16F-E052A3E85A45}" dt="2020-03-11T03:12:29.214" v="3595"/>
          <ac:grpSpMkLst>
            <pc:docMk/>
            <pc:sldMk cId="1910299488" sldId="676"/>
            <ac:grpSpMk id="46" creationId="{4C415721-883B-4747-A3AB-D86475A63DF4}"/>
          </ac:grpSpMkLst>
        </pc:grpChg>
        <pc:grpChg chg="add">
          <ac:chgData name="Sam Mesel" userId="1ee7badb-5d1f-4872-89ae-dcf7b71f276a" providerId="ADAL" clId="{53886FC4-CEC3-49C2-A16F-E052A3E85A45}" dt="2020-03-11T03:12:32.212" v="3597"/>
          <ac:grpSpMkLst>
            <pc:docMk/>
            <pc:sldMk cId="1910299488" sldId="676"/>
            <ac:grpSpMk id="56" creationId="{16E4D22C-412D-4F11-BD69-3298CBC40912}"/>
          </ac:grpSpMkLst>
        </pc:grpChg>
        <pc:grpChg chg="add mod">
          <ac:chgData name="Sam Mesel" userId="1ee7badb-5d1f-4872-89ae-dcf7b71f276a" providerId="ADAL" clId="{53886FC4-CEC3-49C2-A16F-E052A3E85A45}" dt="2020-03-19T15:41:43.480" v="5407" actId="207"/>
          <ac:grpSpMkLst>
            <pc:docMk/>
            <pc:sldMk cId="1910299488" sldId="676"/>
            <ac:grpSpMk id="68" creationId="{21CC0B6C-6610-4CCA-AAD1-6836BECE52C7}"/>
          </ac:grpSpMkLst>
        </pc:grpChg>
        <pc:grpChg chg="add">
          <ac:chgData name="Sam Mesel" userId="1ee7badb-5d1f-4872-89ae-dcf7b71f276a" providerId="ADAL" clId="{53886FC4-CEC3-49C2-A16F-E052A3E85A45}" dt="2020-03-11T03:12:32.212" v="3597"/>
          <ac:grpSpMkLst>
            <pc:docMk/>
            <pc:sldMk cId="1910299488" sldId="676"/>
            <ac:grpSpMk id="78" creationId="{ECDA65E4-8936-4EE6-AAE7-5FE6F73ADBEE}"/>
          </ac:grpSpMkLst>
        </pc:grpChg>
        <pc:grpChg chg="add">
          <ac:chgData name="Sam Mesel" userId="1ee7badb-5d1f-4872-89ae-dcf7b71f276a" providerId="ADAL" clId="{53886FC4-CEC3-49C2-A16F-E052A3E85A45}" dt="2020-03-11T03:12:32.212" v="3597"/>
          <ac:grpSpMkLst>
            <pc:docMk/>
            <pc:sldMk cId="1910299488" sldId="676"/>
            <ac:grpSpMk id="89" creationId="{B3716192-04E8-41F1-B8E4-476AF1AA5DC3}"/>
          </ac:grpSpMkLst>
        </pc:grpChg>
        <pc:grpChg chg="add">
          <ac:chgData name="Sam Mesel" userId="1ee7badb-5d1f-4872-89ae-dcf7b71f276a" providerId="ADAL" clId="{53886FC4-CEC3-49C2-A16F-E052A3E85A45}" dt="2020-03-11T03:12:32.212" v="3597"/>
          <ac:grpSpMkLst>
            <pc:docMk/>
            <pc:sldMk cId="1910299488" sldId="676"/>
            <ac:grpSpMk id="96" creationId="{EF15931D-F1C7-4557-899B-BF2A120CEE64}"/>
          </ac:grpSpMkLst>
        </pc:grpChg>
        <pc:cxnChg chg="add del">
          <ac:chgData name="Sam Mesel" userId="1ee7badb-5d1f-4872-89ae-dcf7b71f276a" providerId="ADAL" clId="{53886FC4-CEC3-49C2-A16F-E052A3E85A45}" dt="2020-03-11T03:12:29.214" v="3595"/>
          <ac:cxnSpMkLst>
            <pc:docMk/>
            <pc:sldMk cId="1910299488" sldId="676"/>
            <ac:cxnSpMk id="15" creationId="{F90B5636-3502-43AD-8E20-DE8909BA6B08}"/>
          </ac:cxnSpMkLst>
        </pc:cxnChg>
        <pc:cxnChg chg="add del">
          <ac:chgData name="Sam Mesel" userId="1ee7badb-5d1f-4872-89ae-dcf7b71f276a" providerId="ADAL" clId="{53886FC4-CEC3-49C2-A16F-E052A3E85A45}" dt="2020-03-11T03:12:29.214" v="3595"/>
          <ac:cxnSpMkLst>
            <pc:docMk/>
            <pc:sldMk cId="1910299488" sldId="676"/>
            <ac:cxnSpMk id="16" creationId="{AE483CCE-E5FD-44D6-9CA3-635D05270531}"/>
          </ac:cxnSpMkLst>
        </pc:cxnChg>
        <pc:cxnChg chg="add del">
          <ac:chgData name="Sam Mesel" userId="1ee7badb-5d1f-4872-89ae-dcf7b71f276a" providerId="ADAL" clId="{53886FC4-CEC3-49C2-A16F-E052A3E85A45}" dt="2020-03-11T03:12:29.214" v="3595"/>
          <ac:cxnSpMkLst>
            <pc:docMk/>
            <pc:sldMk cId="1910299488" sldId="676"/>
            <ac:cxnSpMk id="17" creationId="{F163ABFA-4626-4EDB-85A0-71A4C62263A9}"/>
          </ac:cxnSpMkLst>
        </pc:cxnChg>
        <pc:cxnChg chg="add del">
          <ac:chgData name="Sam Mesel" userId="1ee7badb-5d1f-4872-89ae-dcf7b71f276a" providerId="ADAL" clId="{53886FC4-CEC3-49C2-A16F-E052A3E85A45}" dt="2020-03-11T03:12:29.214" v="3595"/>
          <ac:cxnSpMkLst>
            <pc:docMk/>
            <pc:sldMk cId="1910299488" sldId="676"/>
            <ac:cxnSpMk id="27" creationId="{FBA5C1EF-9055-4269-8176-3CF83353189B}"/>
          </ac:cxnSpMkLst>
        </pc:cxnChg>
        <pc:cxnChg chg="add del">
          <ac:chgData name="Sam Mesel" userId="1ee7badb-5d1f-4872-89ae-dcf7b71f276a" providerId="ADAL" clId="{53886FC4-CEC3-49C2-A16F-E052A3E85A45}" dt="2020-03-11T03:12:29.214" v="3595"/>
          <ac:cxnSpMkLst>
            <pc:docMk/>
            <pc:sldMk cId="1910299488" sldId="676"/>
            <ac:cxnSpMk id="44" creationId="{AD3CEEB1-1DA1-4684-BA7C-6A08475244E0}"/>
          </ac:cxnSpMkLst>
        </pc:cxnChg>
        <pc:cxnChg chg="add del">
          <ac:chgData name="Sam Mesel" userId="1ee7badb-5d1f-4872-89ae-dcf7b71f276a" providerId="ADAL" clId="{53886FC4-CEC3-49C2-A16F-E052A3E85A45}" dt="2020-03-11T03:12:29.214" v="3595"/>
          <ac:cxnSpMkLst>
            <pc:docMk/>
            <pc:sldMk cId="1910299488" sldId="676"/>
            <ac:cxnSpMk id="45" creationId="{62B343F7-8C8D-4DEB-9FED-90ADD650A8EB}"/>
          </ac:cxnSpMkLst>
        </pc:cxnChg>
        <pc:cxnChg chg="add del">
          <ac:chgData name="Sam Mesel" userId="1ee7badb-5d1f-4872-89ae-dcf7b71f276a" providerId="ADAL" clId="{53886FC4-CEC3-49C2-A16F-E052A3E85A45}" dt="2020-03-11T03:12:29.214" v="3595"/>
          <ac:cxnSpMkLst>
            <pc:docMk/>
            <pc:sldMk cId="1910299488" sldId="676"/>
            <ac:cxnSpMk id="51" creationId="{3BBD29E0-3FFD-4C49-A496-44FFEFE56962}"/>
          </ac:cxnSpMkLst>
        </pc:cxnChg>
        <pc:cxnChg chg="add del">
          <ac:chgData name="Sam Mesel" userId="1ee7badb-5d1f-4872-89ae-dcf7b71f276a" providerId="ADAL" clId="{53886FC4-CEC3-49C2-A16F-E052A3E85A45}" dt="2020-03-11T03:12:29.214" v="3595"/>
          <ac:cxnSpMkLst>
            <pc:docMk/>
            <pc:sldMk cId="1910299488" sldId="676"/>
            <ac:cxnSpMk id="52" creationId="{14D09E60-C0F4-4CC9-A728-EE22E5A7EBED}"/>
          </ac:cxnSpMkLst>
        </pc:cxnChg>
        <pc:cxnChg chg="add">
          <ac:chgData name="Sam Mesel" userId="1ee7badb-5d1f-4872-89ae-dcf7b71f276a" providerId="ADAL" clId="{53886FC4-CEC3-49C2-A16F-E052A3E85A45}" dt="2020-03-11T03:12:32.212" v="3597"/>
          <ac:cxnSpMkLst>
            <pc:docMk/>
            <pc:sldMk cId="1910299488" sldId="676"/>
            <ac:cxnSpMk id="65" creationId="{847F21A1-6287-4163-9EF7-01E4CD96716D}"/>
          </ac:cxnSpMkLst>
        </pc:cxnChg>
        <pc:cxnChg chg="add">
          <ac:chgData name="Sam Mesel" userId="1ee7badb-5d1f-4872-89ae-dcf7b71f276a" providerId="ADAL" clId="{53886FC4-CEC3-49C2-A16F-E052A3E85A45}" dt="2020-03-11T03:12:32.212" v="3597"/>
          <ac:cxnSpMkLst>
            <pc:docMk/>
            <pc:sldMk cId="1910299488" sldId="676"/>
            <ac:cxnSpMk id="66" creationId="{497272C4-337E-4DCD-ACD9-9ECED79F5CC1}"/>
          </ac:cxnSpMkLst>
        </pc:cxnChg>
        <pc:cxnChg chg="add mod">
          <ac:chgData name="Sam Mesel" userId="1ee7badb-5d1f-4872-89ae-dcf7b71f276a" providerId="ADAL" clId="{53886FC4-CEC3-49C2-A16F-E052A3E85A45}" dt="2020-03-19T15:41:18.237" v="5399" actId="208"/>
          <ac:cxnSpMkLst>
            <pc:docMk/>
            <pc:sldMk cId="1910299488" sldId="676"/>
            <ac:cxnSpMk id="67" creationId="{67F41847-CD77-49CF-BBC3-35DD8A550404}"/>
          </ac:cxnSpMkLst>
        </pc:cxnChg>
        <pc:cxnChg chg="add mod">
          <ac:chgData name="Sam Mesel" userId="1ee7badb-5d1f-4872-89ae-dcf7b71f276a" providerId="ADAL" clId="{53886FC4-CEC3-49C2-A16F-E052A3E85A45}" dt="2020-03-19T15:41:29.130" v="5404" actId="208"/>
          <ac:cxnSpMkLst>
            <pc:docMk/>
            <pc:sldMk cId="1910299488" sldId="676"/>
            <ac:cxnSpMk id="77" creationId="{6FB43DB4-96E7-4A37-A00C-7F29AB39ACEF}"/>
          </ac:cxnSpMkLst>
        </pc:cxnChg>
        <pc:cxnChg chg="add mod">
          <ac:chgData name="Sam Mesel" userId="1ee7badb-5d1f-4872-89ae-dcf7b71f276a" providerId="ADAL" clId="{53886FC4-CEC3-49C2-A16F-E052A3E85A45}" dt="2020-03-19T15:41:24.357" v="5402" actId="208"/>
          <ac:cxnSpMkLst>
            <pc:docMk/>
            <pc:sldMk cId="1910299488" sldId="676"/>
            <ac:cxnSpMk id="94" creationId="{41D9AC6E-1611-4CD8-9BF0-E9B65562EB54}"/>
          </ac:cxnSpMkLst>
        </pc:cxnChg>
        <pc:cxnChg chg="add mod">
          <ac:chgData name="Sam Mesel" userId="1ee7badb-5d1f-4872-89ae-dcf7b71f276a" providerId="ADAL" clId="{53886FC4-CEC3-49C2-A16F-E052A3E85A45}" dt="2020-03-19T15:41:20.099" v="5400" actId="208"/>
          <ac:cxnSpMkLst>
            <pc:docMk/>
            <pc:sldMk cId="1910299488" sldId="676"/>
            <ac:cxnSpMk id="95" creationId="{C9A4378A-D171-42DA-8B05-DEEDC90C84B9}"/>
          </ac:cxnSpMkLst>
        </pc:cxnChg>
        <pc:cxnChg chg="add mod">
          <ac:chgData name="Sam Mesel" userId="1ee7badb-5d1f-4872-89ae-dcf7b71f276a" providerId="ADAL" clId="{53886FC4-CEC3-49C2-A16F-E052A3E85A45}" dt="2020-03-19T15:41:25.758" v="5403" actId="208"/>
          <ac:cxnSpMkLst>
            <pc:docMk/>
            <pc:sldMk cId="1910299488" sldId="676"/>
            <ac:cxnSpMk id="101" creationId="{1066AC02-A70E-4600-99A9-D533A60DD898}"/>
          </ac:cxnSpMkLst>
        </pc:cxnChg>
        <pc:cxnChg chg="add mod">
          <ac:chgData name="Sam Mesel" userId="1ee7badb-5d1f-4872-89ae-dcf7b71f276a" providerId="ADAL" clId="{53886FC4-CEC3-49C2-A16F-E052A3E85A45}" dt="2020-03-19T15:41:16.269" v="5398" actId="208"/>
          <ac:cxnSpMkLst>
            <pc:docMk/>
            <pc:sldMk cId="1910299488" sldId="676"/>
            <ac:cxnSpMk id="102" creationId="{B0E80F86-A8E1-4AC3-9869-FE33507E39B6}"/>
          </ac:cxnSpMkLst>
        </pc:cxnChg>
      </pc:sldChg>
      <pc:sldChg chg="addSp delSp modSp new mod delAnim modAnim">
        <pc:chgData name="Sam Mesel" userId="1ee7badb-5d1f-4872-89ae-dcf7b71f276a" providerId="ADAL" clId="{53886FC4-CEC3-49C2-A16F-E052A3E85A45}" dt="2020-03-19T15:43:21.641" v="5426" actId="208"/>
        <pc:sldMkLst>
          <pc:docMk/>
          <pc:sldMk cId="120020239" sldId="677"/>
        </pc:sldMkLst>
        <pc:spChg chg="mod">
          <ac:chgData name="Sam Mesel" userId="1ee7badb-5d1f-4872-89ae-dcf7b71f276a" providerId="ADAL" clId="{53886FC4-CEC3-49C2-A16F-E052A3E85A45}" dt="2020-03-11T22:13:06.646" v="3730" actId="20577"/>
          <ac:spMkLst>
            <pc:docMk/>
            <pc:sldMk cId="120020239" sldId="677"/>
            <ac:spMk id="2" creationId="{EE7D5ED0-59B0-42D8-986F-411714BA819A}"/>
          </ac:spMkLst>
        </pc:spChg>
        <pc:spChg chg="mod">
          <ac:chgData name="Sam Mesel" userId="1ee7badb-5d1f-4872-89ae-dcf7b71f276a" providerId="ADAL" clId="{53886FC4-CEC3-49C2-A16F-E052A3E85A45}" dt="2020-03-11T03:13:09.981" v="3606" actId="20577"/>
          <ac:spMkLst>
            <pc:docMk/>
            <pc:sldMk cId="120020239" sldId="677"/>
            <ac:spMk id="3" creationId="{1E3D06FD-960F-4268-BCE9-0C1AD9F0671D}"/>
          </ac:spMkLst>
        </pc:spChg>
        <pc:spChg chg="add mod">
          <ac:chgData name="Sam Mesel" userId="1ee7badb-5d1f-4872-89ae-dcf7b71f276a" providerId="ADAL" clId="{53886FC4-CEC3-49C2-A16F-E052A3E85A45}" dt="2020-03-11T22:29:33.634" v="3886" actId="1076"/>
          <ac:spMkLst>
            <pc:docMk/>
            <pc:sldMk cId="120020239" sldId="677"/>
            <ac:spMk id="4" creationId="{A6F08AD6-2779-41B8-8E1C-87E932A2CDA7}"/>
          </ac:spMkLst>
        </pc:spChg>
        <pc:spChg chg="del">
          <ac:chgData name="Sam Mesel" userId="1ee7badb-5d1f-4872-89ae-dcf7b71f276a" providerId="ADAL" clId="{53886FC4-CEC3-49C2-A16F-E052A3E85A45}" dt="2020-03-11T03:13:13.444" v="3607" actId="478"/>
          <ac:spMkLst>
            <pc:docMk/>
            <pc:sldMk cId="120020239" sldId="677"/>
            <ac:spMk id="4" creationId="{AE5B8837-7F18-4B19-ADA8-4CDDE0FC406D}"/>
          </ac:spMkLst>
        </pc:spChg>
        <pc:spChg chg="add mod">
          <ac:chgData name="Sam Mesel" userId="1ee7badb-5d1f-4872-89ae-dcf7b71f276a" providerId="ADAL" clId="{53886FC4-CEC3-49C2-A16F-E052A3E85A45}" dt="2020-03-11T22:29:33.634" v="3886" actId="1076"/>
          <ac:spMkLst>
            <pc:docMk/>
            <pc:sldMk cId="120020239" sldId="677"/>
            <ac:spMk id="5" creationId="{29416495-340F-422C-91E4-5485DD87A1E9}"/>
          </ac:spMkLst>
        </pc:spChg>
        <pc:spChg chg="add mod">
          <ac:chgData name="Sam Mesel" userId="1ee7badb-5d1f-4872-89ae-dcf7b71f276a" providerId="ADAL" clId="{53886FC4-CEC3-49C2-A16F-E052A3E85A45}" dt="2020-03-11T22:31:45.490" v="3897" actId="1076"/>
          <ac:spMkLst>
            <pc:docMk/>
            <pc:sldMk cId="120020239" sldId="677"/>
            <ac:spMk id="11" creationId="{D8557EAF-A16C-4240-8CE3-8CFDF6108840}"/>
          </ac:spMkLst>
        </pc:spChg>
        <pc:spChg chg="add del">
          <ac:chgData name="Sam Mesel" userId="1ee7badb-5d1f-4872-89ae-dcf7b71f276a" providerId="ADAL" clId="{53886FC4-CEC3-49C2-A16F-E052A3E85A45}" dt="2020-03-11T03:13:46.762" v="3609"/>
          <ac:spMkLst>
            <pc:docMk/>
            <pc:sldMk cId="120020239" sldId="677"/>
            <ac:spMk id="15" creationId="{94CC5AAB-B09C-4048-BC09-9EE3E9665BF7}"/>
          </ac:spMkLst>
        </pc:spChg>
        <pc:spChg chg="add del">
          <ac:chgData name="Sam Mesel" userId="1ee7badb-5d1f-4872-89ae-dcf7b71f276a" providerId="ADAL" clId="{53886FC4-CEC3-49C2-A16F-E052A3E85A45}" dt="2020-03-11T03:13:46.762" v="3609"/>
          <ac:spMkLst>
            <pc:docMk/>
            <pc:sldMk cId="120020239" sldId="677"/>
            <ac:spMk id="16" creationId="{EBCF6E8F-CA51-4940-920B-610994330F4D}"/>
          </ac:spMkLst>
        </pc:spChg>
        <pc:spChg chg="add del">
          <ac:chgData name="Sam Mesel" userId="1ee7badb-5d1f-4872-89ae-dcf7b71f276a" providerId="ADAL" clId="{53886FC4-CEC3-49C2-A16F-E052A3E85A45}" dt="2020-03-11T03:13:46.762" v="3609"/>
          <ac:spMkLst>
            <pc:docMk/>
            <pc:sldMk cId="120020239" sldId="677"/>
            <ac:spMk id="17" creationId="{EF22D6AC-A5BF-4940-9373-218FB8F2EAEF}"/>
          </ac:spMkLst>
        </pc:spChg>
        <pc:spChg chg="add del">
          <ac:chgData name="Sam Mesel" userId="1ee7badb-5d1f-4872-89ae-dcf7b71f276a" providerId="ADAL" clId="{53886FC4-CEC3-49C2-A16F-E052A3E85A45}" dt="2020-03-11T03:13:46.762" v="3609"/>
          <ac:spMkLst>
            <pc:docMk/>
            <pc:sldMk cId="120020239" sldId="677"/>
            <ac:spMk id="18" creationId="{CB0EED4A-4037-414A-BE63-1C4D2B107ADD}"/>
          </ac:spMkLst>
        </pc:spChg>
        <pc:spChg chg="add del">
          <ac:chgData name="Sam Mesel" userId="1ee7badb-5d1f-4872-89ae-dcf7b71f276a" providerId="ADAL" clId="{53886FC4-CEC3-49C2-A16F-E052A3E85A45}" dt="2020-03-11T03:13:46.762" v="3609"/>
          <ac:spMkLst>
            <pc:docMk/>
            <pc:sldMk cId="120020239" sldId="677"/>
            <ac:spMk id="55" creationId="{7E0E65FA-1B2F-4A97-902A-A2B04FAC8DE0}"/>
          </ac:spMkLst>
        </pc:spChg>
        <pc:spChg chg="add del">
          <ac:chgData name="Sam Mesel" userId="1ee7badb-5d1f-4872-89ae-dcf7b71f276a" providerId="ADAL" clId="{53886FC4-CEC3-49C2-A16F-E052A3E85A45}" dt="2020-03-11T03:13:46.762" v="3609"/>
          <ac:spMkLst>
            <pc:docMk/>
            <pc:sldMk cId="120020239" sldId="677"/>
            <ac:spMk id="56" creationId="{01F4BDC3-DBFA-47ED-A1EA-93F8F3A9E69C}"/>
          </ac:spMkLst>
        </pc:spChg>
        <pc:spChg chg="add del">
          <ac:chgData name="Sam Mesel" userId="1ee7badb-5d1f-4872-89ae-dcf7b71f276a" providerId="ADAL" clId="{53886FC4-CEC3-49C2-A16F-E052A3E85A45}" dt="2020-03-11T22:16:52.339" v="3792"/>
          <ac:spMkLst>
            <pc:docMk/>
            <pc:sldMk cId="120020239" sldId="677"/>
            <ac:spMk id="62" creationId="{03EF5BEA-853F-40AD-AA37-D2E386541E40}"/>
          </ac:spMkLst>
        </pc:spChg>
        <pc:spChg chg="add del">
          <ac:chgData name="Sam Mesel" userId="1ee7badb-5d1f-4872-89ae-dcf7b71f276a" providerId="ADAL" clId="{53886FC4-CEC3-49C2-A16F-E052A3E85A45}" dt="2020-03-11T22:16:52.339" v="3792"/>
          <ac:spMkLst>
            <pc:docMk/>
            <pc:sldMk cId="120020239" sldId="677"/>
            <ac:spMk id="63" creationId="{C32406A4-0E04-4075-9861-D946AFB2D3FA}"/>
          </ac:spMkLst>
        </pc:spChg>
        <pc:spChg chg="add del">
          <ac:chgData name="Sam Mesel" userId="1ee7badb-5d1f-4872-89ae-dcf7b71f276a" providerId="ADAL" clId="{53886FC4-CEC3-49C2-A16F-E052A3E85A45}" dt="2020-03-11T03:14:36.267" v="3611"/>
          <ac:spMkLst>
            <pc:docMk/>
            <pc:sldMk cId="120020239" sldId="677"/>
            <ac:spMk id="70" creationId="{0104F6C7-4046-4059-B2C6-3AB03FF4C701}"/>
          </ac:spMkLst>
        </pc:spChg>
        <pc:spChg chg="add del">
          <ac:chgData name="Sam Mesel" userId="1ee7badb-5d1f-4872-89ae-dcf7b71f276a" providerId="ADAL" clId="{53886FC4-CEC3-49C2-A16F-E052A3E85A45}" dt="2020-03-11T03:14:36.267" v="3611"/>
          <ac:spMkLst>
            <pc:docMk/>
            <pc:sldMk cId="120020239" sldId="677"/>
            <ac:spMk id="71" creationId="{3A86FEA2-FB98-44A8-90B0-A8F96094B395}"/>
          </ac:spMkLst>
        </pc:spChg>
        <pc:spChg chg="add del">
          <ac:chgData name="Sam Mesel" userId="1ee7badb-5d1f-4872-89ae-dcf7b71f276a" providerId="ADAL" clId="{53886FC4-CEC3-49C2-A16F-E052A3E85A45}" dt="2020-03-11T03:14:36.267" v="3611"/>
          <ac:spMkLst>
            <pc:docMk/>
            <pc:sldMk cId="120020239" sldId="677"/>
            <ac:spMk id="72" creationId="{031495BA-3AEA-4260-8E0E-8886DDE6E43A}"/>
          </ac:spMkLst>
        </pc:spChg>
        <pc:spChg chg="add del">
          <ac:chgData name="Sam Mesel" userId="1ee7badb-5d1f-4872-89ae-dcf7b71f276a" providerId="ADAL" clId="{53886FC4-CEC3-49C2-A16F-E052A3E85A45}" dt="2020-03-11T03:14:36.267" v="3611"/>
          <ac:spMkLst>
            <pc:docMk/>
            <pc:sldMk cId="120020239" sldId="677"/>
            <ac:spMk id="73" creationId="{48E8665F-579E-4AF2-8703-A7AE4796A8F0}"/>
          </ac:spMkLst>
        </pc:spChg>
        <pc:spChg chg="add del">
          <ac:chgData name="Sam Mesel" userId="1ee7badb-5d1f-4872-89ae-dcf7b71f276a" providerId="ADAL" clId="{53886FC4-CEC3-49C2-A16F-E052A3E85A45}" dt="2020-03-11T03:14:36.267" v="3611"/>
          <ac:spMkLst>
            <pc:docMk/>
            <pc:sldMk cId="120020239" sldId="677"/>
            <ac:spMk id="98" creationId="{8E795278-10D7-4A6C-B19A-83588AC1BE94}"/>
          </ac:spMkLst>
        </pc:spChg>
        <pc:spChg chg="add del">
          <ac:chgData name="Sam Mesel" userId="1ee7badb-5d1f-4872-89ae-dcf7b71f276a" providerId="ADAL" clId="{53886FC4-CEC3-49C2-A16F-E052A3E85A45}" dt="2020-03-11T03:14:36.267" v="3611"/>
          <ac:spMkLst>
            <pc:docMk/>
            <pc:sldMk cId="120020239" sldId="677"/>
            <ac:spMk id="111" creationId="{4C497653-EB73-4B51-95C8-470D1702D370}"/>
          </ac:spMkLst>
        </pc:spChg>
        <pc:spChg chg="add del">
          <ac:chgData name="Sam Mesel" userId="1ee7badb-5d1f-4872-89ae-dcf7b71f276a" providerId="ADAL" clId="{53886FC4-CEC3-49C2-A16F-E052A3E85A45}" dt="2020-03-11T03:14:36.267" v="3611"/>
          <ac:spMkLst>
            <pc:docMk/>
            <pc:sldMk cId="120020239" sldId="677"/>
            <ac:spMk id="112" creationId="{C1C52AD7-46F0-446E-A8DC-AA35BC2E6ADF}"/>
          </ac:spMkLst>
        </pc:spChg>
        <pc:spChg chg="add">
          <ac:chgData name="Sam Mesel" userId="1ee7badb-5d1f-4872-89ae-dcf7b71f276a" providerId="ADAL" clId="{53886FC4-CEC3-49C2-A16F-E052A3E85A45}" dt="2020-03-11T03:14:52.273" v="3612"/>
          <ac:spMkLst>
            <pc:docMk/>
            <pc:sldMk cId="120020239" sldId="677"/>
            <ac:spMk id="126" creationId="{B8D3BEC2-1648-4865-B5AC-CF8F0E862928}"/>
          </ac:spMkLst>
        </pc:spChg>
        <pc:spChg chg="add">
          <ac:chgData name="Sam Mesel" userId="1ee7badb-5d1f-4872-89ae-dcf7b71f276a" providerId="ADAL" clId="{53886FC4-CEC3-49C2-A16F-E052A3E85A45}" dt="2020-03-11T03:14:52.273" v="3612"/>
          <ac:spMkLst>
            <pc:docMk/>
            <pc:sldMk cId="120020239" sldId="677"/>
            <ac:spMk id="127" creationId="{7781E7FE-B4C0-4188-A2DA-36052D937E23}"/>
          </ac:spMkLst>
        </pc:spChg>
        <pc:spChg chg="add">
          <ac:chgData name="Sam Mesel" userId="1ee7badb-5d1f-4872-89ae-dcf7b71f276a" providerId="ADAL" clId="{53886FC4-CEC3-49C2-A16F-E052A3E85A45}" dt="2020-03-11T03:14:52.273" v="3612"/>
          <ac:spMkLst>
            <pc:docMk/>
            <pc:sldMk cId="120020239" sldId="677"/>
            <ac:spMk id="128" creationId="{5374DD51-2D9C-4FB9-9FBA-6DA4828F1D51}"/>
          </ac:spMkLst>
        </pc:spChg>
        <pc:spChg chg="add">
          <ac:chgData name="Sam Mesel" userId="1ee7badb-5d1f-4872-89ae-dcf7b71f276a" providerId="ADAL" clId="{53886FC4-CEC3-49C2-A16F-E052A3E85A45}" dt="2020-03-11T03:14:52.273" v="3612"/>
          <ac:spMkLst>
            <pc:docMk/>
            <pc:sldMk cId="120020239" sldId="677"/>
            <ac:spMk id="129" creationId="{7DE2A349-FA75-4430-876B-0B6C6586D2C3}"/>
          </ac:spMkLst>
        </pc:spChg>
        <pc:spChg chg="mod">
          <ac:chgData name="Sam Mesel" userId="1ee7badb-5d1f-4872-89ae-dcf7b71f276a" providerId="ADAL" clId="{53886FC4-CEC3-49C2-A16F-E052A3E85A45}" dt="2020-03-19T15:43:09.102" v="5424" actId="207"/>
          <ac:spMkLst>
            <pc:docMk/>
            <pc:sldMk cId="120020239" sldId="677"/>
            <ac:spMk id="135" creationId="{C12C36D2-87D0-4DD7-9EE9-DD2F7C34D7AA}"/>
          </ac:spMkLst>
        </pc:spChg>
        <pc:spChg chg="mod">
          <ac:chgData name="Sam Mesel" userId="1ee7badb-5d1f-4872-89ae-dcf7b71f276a" providerId="ADAL" clId="{53886FC4-CEC3-49C2-A16F-E052A3E85A45}" dt="2020-03-19T15:42:37.169" v="5416" actId="208"/>
          <ac:spMkLst>
            <pc:docMk/>
            <pc:sldMk cId="120020239" sldId="677"/>
            <ac:spMk id="136" creationId="{E4A432CF-075C-42D9-AF99-1A65A835F071}"/>
          </ac:spMkLst>
        </pc:spChg>
        <pc:spChg chg="mod">
          <ac:chgData name="Sam Mesel" userId="1ee7badb-5d1f-4872-89ae-dcf7b71f276a" providerId="ADAL" clId="{53886FC4-CEC3-49C2-A16F-E052A3E85A45}" dt="2020-03-19T15:42:37.169" v="5416" actId="208"/>
          <ac:spMkLst>
            <pc:docMk/>
            <pc:sldMk cId="120020239" sldId="677"/>
            <ac:spMk id="137" creationId="{ACB22106-CB71-4220-8268-C467105125B9}"/>
          </ac:spMkLst>
        </pc:spChg>
        <pc:spChg chg="mod">
          <ac:chgData name="Sam Mesel" userId="1ee7badb-5d1f-4872-89ae-dcf7b71f276a" providerId="ADAL" clId="{53886FC4-CEC3-49C2-A16F-E052A3E85A45}" dt="2020-03-19T15:42:37.169" v="5416" actId="208"/>
          <ac:spMkLst>
            <pc:docMk/>
            <pc:sldMk cId="120020239" sldId="677"/>
            <ac:spMk id="138" creationId="{9C513CC3-37FA-46F2-9967-46D8C2950177}"/>
          </ac:spMkLst>
        </pc:spChg>
        <pc:spChg chg="mod">
          <ac:chgData name="Sam Mesel" userId="1ee7badb-5d1f-4872-89ae-dcf7b71f276a" providerId="ADAL" clId="{53886FC4-CEC3-49C2-A16F-E052A3E85A45}" dt="2020-03-19T15:42:37.169" v="5416" actId="208"/>
          <ac:spMkLst>
            <pc:docMk/>
            <pc:sldMk cId="120020239" sldId="677"/>
            <ac:spMk id="139" creationId="{92E95D09-E327-4591-9D19-64B286C3D0E3}"/>
          </ac:spMkLst>
        </pc:spChg>
        <pc:spChg chg="mod">
          <ac:chgData name="Sam Mesel" userId="1ee7badb-5d1f-4872-89ae-dcf7b71f276a" providerId="ADAL" clId="{53886FC4-CEC3-49C2-A16F-E052A3E85A45}" dt="2020-03-19T15:42:37.169" v="5416" actId="208"/>
          <ac:spMkLst>
            <pc:docMk/>
            <pc:sldMk cId="120020239" sldId="677"/>
            <ac:spMk id="140" creationId="{8CDE7261-EB01-47C4-8933-637CBB196F2D}"/>
          </ac:spMkLst>
        </pc:spChg>
        <pc:spChg chg="mod">
          <ac:chgData name="Sam Mesel" userId="1ee7badb-5d1f-4872-89ae-dcf7b71f276a" providerId="ADAL" clId="{53886FC4-CEC3-49C2-A16F-E052A3E85A45}" dt="2020-03-19T15:42:37.169" v="5416" actId="208"/>
          <ac:spMkLst>
            <pc:docMk/>
            <pc:sldMk cId="120020239" sldId="677"/>
            <ac:spMk id="141" creationId="{9B62FB59-EF06-4A7E-9D14-2410BE69ECCC}"/>
          </ac:spMkLst>
        </pc:spChg>
        <pc:spChg chg="mod">
          <ac:chgData name="Sam Mesel" userId="1ee7badb-5d1f-4872-89ae-dcf7b71f276a" providerId="ADAL" clId="{53886FC4-CEC3-49C2-A16F-E052A3E85A45}" dt="2020-03-19T15:42:48.756" v="5420" actId="208"/>
          <ac:spMkLst>
            <pc:docMk/>
            <pc:sldMk cId="120020239" sldId="677"/>
            <ac:spMk id="145" creationId="{1283DD8B-8640-407E-B613-0CDE9524965D}"/>
          </ac:spMkLst>
        </pc:spChg>
        <pc:spChg chg="mod">
          <ac:chgData name="Sam Mesel" userId="1ee7badb-5d1f-4872-89ae-dcf7b71f276a" providerId="ADAL" clId="{53886FC4-CEC3-49C2-A16F-E052A3E85A45}" dt="2020-03-19T15:42:48.756" v="5420" actId="208"/>
          <ac:spMkLst>
            <pc:docMk/>
            <pc:sldMk cId="120020239" sldId="677"/>
            <ac:spMk id="146" creationId="{ABB1E11B-76AE-48AB-9039-09307009AD74}"/>
          </ac:spMkLst>
        </pc:spChg>
        <pc:spChg chg="mod">
          <ac:chgData name="Sam Mesel" userId="1ee7badb-5d1f-4872-89ae-dcf7b71f276a" providerId="ADAL" clId="{53886FC4-CEC3-49C2-A16F-E052A3E85A45}" dt="2020-03-19T15:42:48.756" v="5420" actId="208"/>
          <ac:spMkLst>
            <pc:docMk/>
            <pc:sldMk cId="120020239" sldId="677"/>
            <ac:spMk id="147" creationId="{A28649A6-CDB8-44C0-85D2-145909C00CAF}"/>
          </ac:spMkLst>
        </pc:spChg>
        <pc:spChg chg="mod">
          <ac:chgData name="Sam Mesel" userId="1ee7badb-5d1f-4872-89ae-dcf7b71f276a" providerId="ADAL" clId="{53886FC4-CEC3-49C2-A16F-E052A3E85A45}" dt="2020-03-19T15:42:48.756" v="5420" actId="208"/>
          <ac:spMkLst>
            <pc:docMk/>
            <pc:sldMk cId="120020239" sldId="677"/>
            <ac:spMk id="148" creationId="{F9E6FAC8-0313-404F-BC94-0CCEDCFD4EDB}"/>
          </ac:spMkLst>
        </pc:spChg>
        <pc:spChg chg="mod">
          <ac:chgData name="Sam Mesel" userId="1ee7badb-5d1f-4872-89ae-dcf7b71f276a" providerId="ADAL" clId="{53886FC4-CEC3-49C2-A16F-E052A3E85A45}" dt="2020-03-19T15:42:48.756" v="5420" actId="208"/>
          <ac:spMkLst>
            <pc:docMk/>
            <pc:sldMk cId="120020239" sldId="677"/>
            <ac:spMk id="149" creationId="{0BEE5A7D-19F2-406A-845D-CD0CCFF610C9}"/>
          </ac:spMkLst>
        </pc:spChg>
        <pc:spChg chg="mod">
          <ac:chgData name="Sam Mesel" userId="1ee7badb-5d1f-4872-89ae-dcf7b71f276a" providerId="ADAL" clId="{53886FC4-CEC3-49C2-A16F-E052A3E85A45}" dt="2020-03-19T15:42:48.756" v="5420" actId="208"/>
          <ac:spMkLst>
            <pc:docMk/>
            <pc:sldMk cId="120020239" sldId="677"/>
            <ac:spMk id="150" creationId="{44365124-0947-42AB-951D-866264932581}"/>
          </ac:spMkLst>
        </pc:spChg>
        <pc:spChg chg="mod">
          <ac:chgData name="Sam Mesel" userId="1ee7badb-5d1f-4872-89ae-dcf7b71f276a" providerId="ADAL" clId="{53886FC4-CEC3-49C2-A16F-E052A3E85A45}" dt="2020-03-19T15:42:48.756" v="5420" actId="208"/>
          <ac:spMkLst>
            <pc:docMk/>
            <pc:sldMk cId="120020239" sldId="677"/>
            <ac:spMk id="151" creationId="{61CCA603-CB51-41F5-9729-E5D54DA7EC78}"/>
          </ac:spMkLst>
        </pc:spChg>
        <pc:spChg chg="mod">
          <ac:chgData name="Sam Mesel" userId="1ee7badb-5d1f-4872-89ae-dcf7b71f276a" providerId="ADAL" clId="{53886FC4-CEC3-49C2-A16F-E052A3E85A45}" dt="2020-03-19T15:42:48.756" v="5420" actId="208"/>
          <ac:spMkLst>
            <pc:docMk/>
            <pc:sldMk cId="120020239" sldId="677"/>
            <ac:spMk id="152" creationId="{3726ED09-4B3B-4A00-9B43-FE4E9D270E58}"/>
          </ac:spMkLst>
        </pc:spChg>
        <pc:spChg chg="mod">
          <ac:chgData name="Sam Mesel" userId="1ee7badb-5d1f-4872-89ae-dcf7b71f276a" providerId="ADAL" clId="{53886FC4-CEC3-49C2-A16F-E052A3E85A45}" dt="2020-03-19T15:43:05.078" v="5423" actId="207"/>
          <ac:spMkLst>
            <pc:docMk/>
            <pc:sldMk cId="120020239" sldId="677"/>
            <ac:spMk id="153" creationId="{AD33DA6F-CDF4-4C66-8F3E-659D638FC559}"/>
          </ac:spMkLst>
        </pc:spChg>
        <pc:spChg chg="add">
          <ac:chgData name="Sam Mesel" userId="1ee7badb-5d1f-4872-89ae-dcf7b71f276a" providerId="ADAL" clId="{53886FC4-CEC3-49C2-A16F-E052A3E85A45}" dt="2020-03-11T03:14:52.273" v="3612"/>
          <ac:spMkLst>
            <pc:docMk/>
            <pc:sldMk cId="120020239" sldId="677"/>
            <ac:spMk id="154" creationId="{5CF78BED-3D8D-457D-A765-91F4E258D781}"/>
          </ac:spMkLst>
        </pc:spChg>
        <pc:spChg chg="add">
          <ac:chgData name="Sam Mesel" userId="1ee7badb-5d1f-4872-89ae-dcf7b71f276a" providerId="ADAL" clId="{53886FC4-CEC3-49C2-A16F-E052A3E85A45}" dt="2020-03-11T03:14:52.273" v="3612"/>
          <ac:spMkLst>
            <pc:docMk/>
            <pc:sldMk cId="120020239" sldId="677"/>
            <ac:spMk id="167" creationId="{DFA548F3-B72D-4E0B-B120-DA1412A2662B}"/>
          </ac:spMkLst>
        </pc:spChg>
        <pc:spChg chg="add">
          <ac:chgData name="Sam Mesel" userId="1ee7badb-5d1f-4872-89ae-dcf7b71f276a" providerId="ADAL" clId="{53886FC4-CEC3-49C2-A16F-E052A3E85A45}" dt="2020-03-11T03:14:52.273" v="3612"/>
          <ac:spMkLst>
            <pc:docMk/>
            <pc:sldMk cId="120020239" sldId="677"/>
            <ac:spMk id="168" creationId="{B144B7E1-4819-4850-A095-310FADCA25E2}"/>
          </ac:spMkLst>
        </pc:spChg>
        <pc:spChg chg="add mod">
          <ac:chgData name="Sam Mesel" userId="1ee7badb-5d1f-4872-89ae-dcf7b71f276a" providerId="ADAL" clId="{53886FC4-CEC3-49C2-A16F-E052A3E85A45}" dt="2020-03-11T22:29:33.634" v="3886" actId="1076"/>
          <ac:spMkLst>
            <pc:docMk/>
            <pc:sldMk cId="120020239" sldId="677"/>
            <ac:spMk id="172" creationId="{3CE3E135-AA50-47A4-A188-F733535C4DC1}"/>
          </ac:spMkLst>
        </pc:spChg>
        <pc:spChg chg="add del mod">
          <ac:chgData name="Sam Mesel" userId="1ee7badb-5d1f-4872-89ae-dcf7b71f276a" providerId="ADAL" clId="{53886FC4-CEC3-49C2-A16F-E052A3E85A45}" dt="2020-03-11T22:32:49.798" v="3900" actId="478"/>
          <ac:spMkLst>
            <pc:docMk/>
            <pc:sldMk cId="120020239" sldId="677"/>
            <ac:spMk id="173" creationId="{45A8B86E-1134-45D9-A4D1-F0692028CB51}"/>
          </ac:spMkLst>
        </pc:spChg>
        <pc:grpChg chg="add del">
          <ac:chgData name="Sam Mesel" userId="1ee7badb-5d1f-4872-89ae-dcf7b71f276a" providerId="ADAL" clId="{53886FC4-CEC3-49C2-A16F-E052A3E85A45}" dt="2020-03-11T03:13:46.762" v="3609"/>
          <ac:grpSpMkLst>
            <pc:docMk/>
            <pc:sldMk cId="120020239" sldId="677"/>
            <ac:grpSpMk id="5" creationId="{9DCCA22A-F13F-4B3C-A186-9720E52FB4D7}"/>
          </ac:grpSpMkLst>
        </pc:grpChg>
        <pc:grpChg chg="add del">
          <ac:chgData name="Sam Mesel" userId="1ee7badb-5d1f-4872-89ae-dcf7b71f276a" providerId="ADAL" clId="{53886FC4-CEC3-49C2-A16F-E052A3E85A45}" dt="2020-03-11T03:13:46.762" v="3609"/>
          <ac:grpSpMkLst>
            <pc:docMk/>
            <pc:sldMk cId="120020239" sldId="677"/>
            <ac:grpSpMk id="10" creationId="{D67B7AA1-3E2E-4EA6-94CA-6E39A8065D46}"/>
          </ac:grpSpMkLst>
        </pc:grpChg>
        <pc:grpChg chg="add del">
          <ac:chgData name="Sam Mesel" userId="1ee7badb-5d1f-4872-89ae-dcf7b71f276a" providerId="ADAL" clId="{53886FC4-CEC3-49C2-A16F-E052A3E85A45}" dt="2020-03-11T03:13:46.762" v="3609"/>
          <ac:grpSpMkLst>
            <pc:docMk/>
            <pc:sldMk cId="120020239" sldId="677"/>
            <ac:grpSpMk id="22" creationId="{58F5487B-AE17-47B3-A3AD-589D1CA129C4}"/>
          </ac:grpSpMkLst>
        </pc:grpChg>
        <pc:grpChg chg="add del">
          <ac:chgData name="Sam Mesel" userId="1ee7badb-5d1f-4872-89ae-dcf7b71f276a" providerId="ADAL" clId="{53886FC4-CEC3-49C2-A16F-E052A3E85A45}" dt="2020-03-11T03:13:46.762" v="3609"/>
          <ac:grpSpMkLst>
            <pc:docMk/>
            <pc:sldMk cId="120020239" sldId="677"/>
            <ac:grpSpMk id="33" creationId="{C3EA0016-F682-4F44-B392-CBF6915E05E1}"/>
          </ac:grpSpMkLst>
        </pc:grpChg>
        <pc:grpChg chg="add del">
          <ac:chgData name="Sam Mesel" userId="1ee7badb-5d1f-4872-89ae-dcf7b71f276a" providerId="ADAL" clId="{53886FC4-CEC3-49C2-A16F-E052A3E85A45}" dt="2020-03-11T03:13:46.762" v="3609"/>
          <ac:grpSpMkLst>
            <pc:docMk/>
            <pc:sldMk cId="120020239" sldId="677"/>
            <ac:grpSpMk id="43" creationId="{A38C3EC5-7EDC-4AB1-B02C-DD00FB1A5E3C}"/>
          </ac:grpSpMkLst>
        </pc:grpChg>
        <pc:grpChg chg="add del">
          <ac:chgData name="Sam Mesel" userId="1ee7badb-5d1f-4872-89ae-dcf7b71f276a" providerId="ADAL" clId="{53886FC4-CEC3-49C2-A16F-E052A3E85A45}" dt="2020-03-11T03:13:46.762" v="3609"/>
          <ac:grpSpMkLst>
            <pc:docMk/>
            <pc:sldMk cId="120020239" sldId="677"/>
            <ac:grpSpMk id="50" creationId="{927D8A30-B401-4D15-A9C5-B320A43D9FDD}"/>
          </ac:grpSpMkLst>
        </pc:grpChg>
        <pc:grpChg chg="add del">
          <ac:chgData name="Sam Mesel" userId="1ee7badb-5d1f-4872-89ae-dcf7b71f276a" providerId="ADAL" clId="{53886FC4-CEC3-49C2-A16F-E052A3E85A45}" dt="2020-03-11T03:14:36.267" v="3611"/>
          <ac:grpSpMkLst>
            <pc:docMk/>
            <pc:sldMk cId="120020239" sldId="677"/>
            <ac:grpSpMk id="60" creationId="{8339FC09-3125-42EB-A0B4-B781859336F7}"/>
          </ac:grpSpMkLst>
        </pc:grpChg>
        <pc:grpChg chg="add del">
          <ac:chgData name="Sam Mesel" userId="1ee7badb-5d1f-4872-89ae-dcf7b71f276a" providerId="ADAL" clId="{53886FC4-CEC3-49C2-A16F-E052A3E85A45}" dt="2020-03-11T03:14:36.267" v="3611"/>
          <ac:grpSpMkLst>
            <pc:docMk/>
            <pc:sldMk cId="120020239" sldId="677"/>
            <ac:grpSpMk id="65" creationId="{123116A2-542D-495C-A081-D6CFF137BD75}"/>
          </ac:grpSpMkLst>
        </pc:grpChg>
        <pc:grpChg chg="add del">
          <ac:chgData name="Sam Mesel" userId="1ee7badb-5d1f-4872-89ae-dcf7b71f276a" providerId="ADAL" clId="{53886FC4-CEC3-49C2-A16F-E052A3E85A45}" dt="2020-03-11T03:14:36.267" v="3611"/>
          <ac:grpSpMkLst>
            <pc:docMk/>
            <pc:sldMk cId="120020239" sldId="677"/>
            <ac:grpSpMk id="77" creationId="{28E0D8E1-94D7-43CE-A09D-9BC6903BE7E1}"/>
          </ac:grpSpMkLst>
        </pc:grpChg>
        <pc:grpChg chg="add del">
          <ac:chgData name="Sam Mesel" userId="1ee7badb-5d1f-4872-89ae-dcf7b71f276a" providerId="ADAL" clId="{53886FC4-CEC3-49C2-A16F-E052A3E85A45}" dt="2020-03-11T03:14:36.267" v="3611"/>
          <ac:grpSpMkLst>
            <pc:docMk/>
            <pc:sldMk cId="120020239" sldId="677"/>
            <ac:grpSpMk id="88" creationId="{DAE3790E-29F6-466E-B3A9-A27525DC46B4}"/>
          </ac:grpSpMkLst>
        </pc:grpChg>
        <pc:grpChg chg="add del">
          <ac:chgData name="Sam Mesel" userId="1ee7badb-5d1f-4872-89ae-dcf7b71f276a" providerId="ADAL" clId="{53886FC4-CEC3-49C2-A16F-E052A3E85A45}" dt="2020-03-11T03:14:36.267" v="3611"/>
          <ac:grpSpMkLst>
            <pc:docMk/>
            <pc:sldMk cId="120020239" sldId="677"/>
            <ac:grpSpMk id="99" creationId="{42395D7E-6FDD-4F8B-AD7E-710C5B1CCFD2}"/>
          </ac:grpSpMkLst>
        </pc:grpChg>
        <pc:grpChg chg="add del">
          <ac:chgData name="Sam Mesel" userId="1ee7badb-5d1f-4872-89ae-dcf7b71f276a" providerId="ADAL" clId="{53886FC4-CEC3-49C2-A16F-E052A3E85A45}" dt="2020-03-11T03:14:36.267" v="3611"/>
          <ac:grpSpMkLst>
            <pc:docMk/>
            <pc:sldMk cId="120020239" sldId="677"/>
            <ac:grpSpMk id="106" creationId="{65513AE7-EF15-496F-9147-52380BEDD5E4}"/>
          </ac:grpSpMkLst>
        </pc:grpChg>
        <pc:grpChg chg="add">
          <ac:chgData name="Sam Mesel" userId="1ee7badb-5d1f-4872-89ae-dcf7b71f276a" providerId="ADAL" clId="{53886FC4-CEC3-49C2-A16F-E052A3E85A45}" dt="2020-03-11T03:14:52.273" v="3612"/>
          <ac:grpSpMkLst>
            <pc:docMk/>
            <pc:sldMk cId="120020239" sldId="677"/>
            <ac:grpSpMk id="116" creationId="{0502E350-4747-4713-98A9-065E88ED89B1}"/>
          </ac:grpSpMkLst>
        </pc:grpChg>
        <pc:grpChg chg="add">
          <ac:chgData name="Sam Mesel" userId="1ee7badb-5d1f-4872-89ae-dcf7b71f276a" providerId="ADAL" clId="{53886FC4-CEC3-49C2-A16F-E052A3E85A45}" dt="2020-03-11T03:14:52.273" v="3612"/>
          <ac:grpSpMkLst>
            <pc:docMk/>
            <pc:sldMk cId="120020239" sldId="677"/>
            <ac:grpSpMk id="121" creationId="{0E2F1440-23F7-40D5-AEDE-2D5BB7B05DA9}"/>
          </ac:grpSpMkLst>
        </pc:grpChg>
        <pc:grpChg chg="add mod">
          <ac:chgData name="Sam Mesel" userId="1ee7badb-5d1f-4872-89ae-dcf7b71f276a" providerId="ADAL" clId="{53886FC4-CEC3-49C2-A16F-E052A3E85A45}" dt="2020-03-11T22:29:33.634" v="3886" actId="1076"/>
          <ac:grpSpMkLst>
            <pc:docMk/>
            <pc:sldMk cId="120020239" sldId="677"/>
            <ac:grpSpMk id="133" creationId="{7BF2EDFB-6DC5-413C-B2CA-BAECC16D04C4}"/>
          </ac:grpSpMkLst>
        </pc:grpChg>
        <pc:grpChg chg="add">
          <ac:chgData name="Sam Mesel" userId="1ee7badb-5d1f-4872-89ae-dcf7b71f276a" providerId="ADAL" clId="{53886FC4-CEC3-49C2-A16F-E052A3E85A45}" dt="2020-03-11T03:14:52.273" v="3612"/>
          <ac:grpSpMkLst>
            <pc:docMk/>
            <pc:sldMk cId="120020239" sldId="677"/>
            <ac:grpSpMk id="144" creationId="{0909926D-BEF8-4681-9DAB-C63F7DB1A6CD}"/>
          </ac:grpSpMkLst>
        </pc:grpChg>
        <pc:grpChg chg="add">
          <ac:chgData name="Sam Mesel" userId="1ee7badb-5d1f-4872-89ae-dcf7b71f276a" providerId="ADAL" clId="{53886FC4-CEC3-49C2-A16F-E052A3E85A45}" dt="2020-03-11T03:14:52.273" v="3612"/>
          <ac:grpSpMkLst>
            <pc:docMk/>
            <pc:sldMk cId="120020239" sldId="677"/>
            <ac:grpSpMk id="155" creationId="{2AC6AA3D-0E2E-41F0-BBB6-67AC6DBDC119}"/>
          </ac:grpSpMkLst>
        </pc:grpChg>
        <pc:grpChg chg="add">
          <ac:chgData name="Sam Mesel" userId="1ee7badb-5d1f-4872-89ae-dcf7b71f276a" providerId="ADAL" clId="{53886FC4-CEC3-49C2-A16F-E052A3E85A45}" dt="2020-03-11T03:14:52.273" v="3612"/>
          <ac:grpSpMkLst>
            <pc:docMk/>
            <pc:sldMk cId="120020239" sldId="677"/>
            <ac:grpSpMk id="162" creationId="{D281A85E-E923-4769-941F-A3A57CD1BC3D}"/>
          </ac:grpSpMkLst>
        </pc:grpChg>
        <pc:cxnChg chg="add del">
          <ac:chgData name="Sam Mesel" userId="1ee7badb-5d1f-4872-89ae-dcf7b71f276a" providerId="ADAL" clId="{53886FC4-CEC3-49C2-A16F-E052A3E85A45}" dt="2020-03-11T03:13:46.762" v="3609"/>
          <ac:cxnSpMkLst>
            <pc:docMk/>
            <pc:sldMk cId="120020239" sldId="677"/>
            <ac:cxnSpMk id="19" creationId="{0E85CFD7-41AC-4548-9BBC-E0BAABD58612}"/>
          </ac:cxnSpMkLst>
        </pc:cxnChg>
        <pc:cxnChg chg="add del">
          <ac:chgData name="Sam Mesel" userId="1ee7badb-5d1f-4872-89ae-dcf7b71f276a" providerId="ADAL" clId="{53886FC4-CEC3-49C2-A16F-E052A3E85A45}" dt="2020-03-11T03:13:46.762" v="3609"/>
          <ac:cxnSpMkLst>
            <pc:docMk/>
            <pc:sldMk cId="120020239" sldId="677"/>
            <ac:cxnSpMk id="20" creationId="{2ADC8AFB-966B-4CA0-B156-927EEE91638C}"/>
          </ac:cxnSpMkLst>
        </pc:cxnChg>
        <pc:cxnChg chg="add del">
          <ac:chgData name="Sam Mesel" userId="1ee7badb-5d1f-4872-89ae-dcf7b71f276a" providerId="ADAL" clId="{53886FC4-CEC3-49C2-A16F-E052A3E85A45}" dt="2020-03-11T03:13:46.762" v="3609"/>
          <ac:cxnSpMkLst>
            <pc:docMk/>
            <pc:sldMk cId="120020239" sldId="677"/>
            <ac:cxnSpMk id="21" creationId="{02C55241-A184-4AE4-8B82-A5F1777E5C05}"/>
          </ac:cxnSpMkLst>
        </pc:cxnChg>
        <pc:cxnChg chg="add del">
          <ac:chgData name="Sam Mesel" userId="1ee7badb-5d1f-4872-89ae-dcf7b71f276a" providerId="ADAL" clId="{53886FC4-CEC3-49C2-A16F-E052A3E85A45}" dt="2020-03-11T03:13:46.762" v="3609"/>
          <ac:cxnSpMkLst>
            <pc:docMk/>
            <pc:sldMk cId="120020239" sldId="677"/>
            <ac:cxnSpMk id="31" creationId="{90D3B8A8-48C8-4E9A-8A8C-28D8D703A7E8}"/>
          </ac:cxnSpMkLst>
        </pc:cxnChg>
        <pc:cxnChg chg="add del">
          <ac:chgData name="Sam Mesel" userId="1ee7badb-5d1f-4872-89ae-dcf7b71f276a" providerId="ADAL" clId="{53886FC4-CEC3-49C2-A16F-E052A3E85A45}" dt="2020-03-11T03:13:46.762" v="3609"/>
          <ac:cxnSpMkLst>
            <pc:docMk/>
            <pc:sldMk cId="120020239" sldId="677"/>
            <ac:cxnSpMk id="32" creationId="{21381A3C-1CFD-4492-89EA-FC6BBD7C16CD}"/>
          </ac:cxnSpMkLst>
        </pc:cxnChg>
        <pc:cxnChg chg="add del">
          <ac:chgData name="Sam Mesel" userId="1ee7badb-5d1f-4872-89ae-dcf7b71f276a" providerId="ADAL" clId="{53886FC4-CEC3-49C2-A16F-E052A3E85A45}" dt="2020-03-11T03:13:46.762" v="3609"/>
          <ac:cxnSpMkLst>
            <pc:docMk/>
            <pc:sldMk cId="120020239" sldId="677"/>
            <ac:cxnSpMk id="48" creationId="{66D28663-00FC-403C-BDA7-2CF6ABA693A8}"/>
          </ac:cxnSpMkLst>
        </pc:cxnChg>
        <pc:cxnChg chg="add del">
          <ac:chgData name="Sam Mesel" userId="1ee7badb-5d1f-4872-89ae-dcf7b71f276a" providerId="ADAL" clId="{53886FC4-CEC3-49C2-A16F-E052A3E85A45}" dt="2020-03-11T03:13:46.762" v="3609"/>
          <ac:cxnSpMkLst>
            <pc:docMk/>
            <pc:sldMk cId="120020239" sldId="677"/>
            <ac:cxnSpMk id="49" creationId="{1573D86E-8E14-42A1-AD33-31A70CA1F3CC}"/>
          </ac:cxnSpMkLst>
        </pc:cxnChg>
        <pc:cxnChg chg="add del">
          <ac:chgData name="Sam Mesel" userId="1ee7badb-5d1f-4872-89ae-dcf7b71f276a" providerId="ADAL" clId="{53886FC4-CEC3-49C2-A16F-E052A3E85A45}" dt="2020-03-11T03:13:46.762" v="3609"/>
          <ac:cxnSpMkLst>
            <pc:docMk/>
            <pc:sldMk cId="120020239" sldId="677"/>
            <ac:cxnSpMk id="57" creationId="{3788A836-2FEF-4253-88A1-6F32EDF887A9}"/>
          </ac:cxnSpMkLst>
        </pc:cxnChg>
        <pc:cxnChg chg="add del">
          <ac:chgData name="Sam Mesel" userId="1ee7badb-5d1f-4872-89ae-dcf7b71f276a" providerId="ADAL" clId="{53886FC4-CEC3-49C2-A16F-E052A3E85A45}" dt="2020-03-11T03:13:46.762" v="3609"/>
          <ac:cxnSpMkLst>
            <pc:docMk/>
            <pc:sldMk cId="120020239" sldId="677"/>
            <ac:cxnSpMk id="58" creationId="{76A00344-4522-40C2-AC68-1708D7CE8B5E}"/>
          </ac:cxnSpMkLst>
        </pc:cxnChg>
        <pc:cxnChg chg="add del">
          <ac:chgData name="Sam Mesel" userId="1ee7badb-5d1f-4872-89ae-dcf7b71f276a" providerId="ADAL" clId="{53886FC4-CEC3-49C2-A16F-E052A3E85A45}" dt="2020-03-11T03:13:46.762" v="3609"/>
          <ac:cxnSpMkLst>
            <pc:docMk/>
            <pc:sldMk cId="120020239" sldId="677"/>
            <ac:cxnSpMk id="59" creationId="{EAC9C3EB-F53A-4999-BBBB-F903E6CDB1C8}"/>
          </ac:cxnSpMkLst>
        </pc:cxnChg>
        <pc:cxnChg chg="add mod">
          <ac:chgData name="Sam Mesel" userId="1ee7badb-5d1f-4872-89ae-dcf7b71f276a" providerId="ADAL" clId="{53886FC4-CEC3-49C2-A16F-E052A3E85A45}" dt="2020-03-19T15:42:34.763" v="5415" actId="208"/>
          <ac:cxnSpMkLst>
            <pc:docMk/>
            <pc:sldMk cId="120020239" sldId="677"/>
            <ac:cxnSpMk id="71" creationId="{D9B9A41F-33E3-48AF-96F7-435B229225E5}"/>
          </ac:cxnSpMkLst>
        </pc:cxnChg>
        <pc:cxnChg chg="add del">
          <ac:chgData name="Sam Mesel" userId="1ee7badb-5d1f-4872-89ae-dcf7b71f276a" providerId="ADAL" clId="{53886FC4-CEC3-49C2-A16F-E052A3E85A45}" dt="2020-03-11T03:14:36.267" v="3611"/>
          <ac:cxnSpMkLst>
            <pc:docMk/>
            <pc:sldMk cId="120020239" sldId="677"/>
            <ac:cxnSpMk id="74" creationId="{FB5CC22E-1434-4E19-9B97-A0AC1E6CC5DC}"/>
          </ac:cxnSpMkLst>
        </pc:cxnChg>
        <pc:cxnChg chg="add del">
          <ac:chgData name="Sam Mesel" userId="1ee7badb-5d1f-4872-89ae-dcf7b71f276a" providerId="ADAL" clId="{53886FC4-CEC3-49C2-A16F-E052A3E85A45}" dt="2020-03-11T03:14:36.267" v="3611"/>
          <ac:cxnSpMkLst>
            <pc:docMk/>
            <pc:sldMk cId="120020239" sldId="677"/>
            <ac:cxnSpMk id="75" creationId="{506CAC90-723B-4540-90CB-15932365E255}"/>
          </ac:cxnSpMkLst>
        </pc:cxnChg>
        <pc:cxnChg chg="add del">
          <ac:chgData name="Sam Mesel" userId="1ee7badb-5d1f-4872-89ae-dcf7b71f276a" providerId="ADAL" clId="{53886FC4-CEC3-49C2-A16F-E052A3E85A45}" dt="2020-03-11T03:14:36.267" v="3611"/>
          <ac:cxnSpMkLst>
            <pc:docMk/>
            <pc:sldMk cId="120020239" sldId="677"/>
            <ac:cxnSpMk id="76" creationId="{BD97ABAA-EA5C-43BB-8284-0B942F3653FD}"/>
          </ac:cxnSpMkLst>
        </pc:cxnChg>
        <pc:cxnChg chg="add del">
          <ac:chgData name="Sam Mesel" userId="1ee7badb-5d1f-4872-89ae-dcf7b71f276a" providerId="ADAL" clId="{53886FC4-CEC3-49C2-A16F-E052A3E85A45}" dt="2020-03-11T03:14:36.267" v="3611"/>
          <ac:cxnSpMkLst>
            <pc:docMk/>
            <pc:sldMk cId="120020239" sldId="677"/>
            <ac:cxnSpMk id="86" creationId="{3B754C4A-6F56-48C2-8C28-31FEEF7C11DA}"/>
          </ac:cxnSpMkLst>
        </pc:cxnChg>
        <pc:cxnChg chg="add del">
          <ac:chgData name="Sam Mesel" userId="1ee7badb-5d1f-4872-89ae-dcf7b71f276a" providerId="ADAL" clId="{53886FC4-CEC3-49C2-A16F-E052A3E85A45}" dt="2020-03-11T03:14:36.267" v="3611"/>
          <ac:cxnSpMkLst>
            <pc:docMk/>
            <pc:sldMk cId="120020239" sldId="677"/>
            <ac:cxnSpMk id="87" creationId="{1E1C399A-5603-45BB-9DC5-7A313AA51CCA}"/>
          </ac:cxnSpMkLst>
        </pc:cxnChg>
        <pc:cxnChg chg="add del">
          <ac:chgData name="Sam Mesel" userId="1ee7badb-5d1f-4872-89ae-dcf7b71f276a" providerId="ADAL" clId="{53886FC4-CEC3-49C2-A16F-E052A3E85A45}" dt="2020-03-11T03:14:36.267" v="3611"/>
          <ac:cxnSpMkLst>
            <pc:docMk/>
            <pc:sldMk cId="120020239" sldId="677"/>
            <ac:cxnSpMk id="104" creationId="{F0356309-0A1F-4F57-AC53-08C3B8D0BDF4}"/>
          </ac:cxnSpMkLst>
        </pc:cxnChg>
        <pc:cxnChg chg="add del">
          <ac:chgData name="Sam Mesel" userId="1ee7badb-5d1f-4872-89ae-dcf7b71f276a" providerId="ADAL" clId="{53886FC4-CEC3-49C2-A16F-E052A3E85A45}" dt="2020-03-11T03:14:36.267" v="3611"/>
          <ac:cxnSpMkLst>
            <pc:docMk/>
            <pc:sldMk cId="120020239" sldId="677"/>
            <ac:cxnSpMk id="105" creationId="{178D9190-951C-476C-A303-F393ED3B32AA}"/>
          </ac:cxnSpMkLst>
        </pc:cxnChg>
        <pc:cxnChg chg="add del">
          <ac:chgData name="Sam Mesel" userId="1ee7badb-5d1f-4872-89ae-dcf7b71f276a" providerId="ADAL" clId="{53886FC4-CEC3-49C2-A16F-E052A3E85A45}" dt="2020-03-11T03:14:36.267" v="3611"/>
          <ac:cxnSpMkLst>
            <pc:docMk/>
            <pc:sldMk cId="120020239" sldId="677"/>
            <ac:cxnSpMk id="113" creationId="{F80A1819-AD44-4177-A398-10309C29DCFE}"/>
          </ac:cxnSpMkLst>
        </pc:cxnChg>
        <pc:cxnChg chg="add del">
          <ac:chgData name="Sam Mesel" userId="1ee7badb-5d1f-4872-89ae-dcf7b71f276a" providerId="ADAL" clId="{53886FC4-CEC3-49C2-A16F-E052A3E85A45}" dt="2020-03-11T03:14:36.267" v="3611"/>
          <ac:cxnSpMkLst>
            <pc:docMk/>
            <pc:sldMk cId="120020239" sldId="677"/>
            <ac:cxnSpMk id="114" creationId="{D12F19AF-DFC8-4A5C-94A9-F7D287603E19}"/>
          </ac:cxnSpMkLst>
        </pc:cxnChg>
        <pc:cxnChg chg="add del">
          <ac:chgData name="Sam Mesel" userId="1ee7badb-5d1f-4872-89ae-dcf7b71f276a" providerId="ADAL" clId="{53886FC4-CEC3-49C2-A16F-E052A3E85A45}" dt="2020-03-11T03:14:36.267" v="3611"/>
          <ac:cxnSpMkLst>
            <pc:docMk/>
            <pc:sldMk cId="120020239" sldId="677"/>
            <ac:cxnSpMk id="115" creationId="{6AD1A3DC-F6CD-4BED-88A7-4A65F4D7F4CF}"/>
          </ac:cxnSpMkLst>
        </pc:cxnChg>
        <pc:cxnChg chg="add">
          <ac:chgData name="Sam Mesel" userId="1ee7badb-5d1f-4872-89ae-dcf7b71f276a" providerId="ADAL" clId="{53886FC4-CEC3-49C2-A16F-E052A3E85A45}" dt="2020-03-11T03:14:52.273" v="3612"/>
          <ac:cxnSpMkLst>
            <pc:docMk/>
            <pc:sldMk cId="120020239" sldId="677"/>
            <ac:cxnSpMk id="130" creationId="{7B263DE3-482E-4305-9CA9-10EBBFF5E3E8}"/>
          </ac:cxnSpMkLst>
        </pc:cxnChg>
        <pc:cxnChg chg="add">
          <ac:chgData name="Sam Mesel" userId="1ee7badb-5d1f-4872-89ae-dcf7b71f276a" providerId="ADAL" clId="{53886FC4-CEC3-49C2-A16F-E052A3E85A45}" dt="2020-03-11T03:14:52.273" v="3612"/>
          <ac:cxnSpMkLst>
            <pc:docMk/>
            <pc:sldMk cId="120020239" sldId="677"/>
            <ac:cxnSpMk id="131" creationId="{C990F757-D9A2-4D54-B041-D1FF30454ED0}"/>
          </ac:cxnSpMkLst>
        </pc:cxnChg>
        <pc:cxnChg chg="add mod">
          <ac:chgData name="Sam Mesel" userId="1ee7badb-5d1f-4872-89ae-dcf7b71f276a" providerId="ADAL" clId="{53886FC4-CEC3-49C2-A16F-E052A3E85A45}" dt="2020-03-19T15:42:30.513" v="5413" actId="208"/>
          <ac:cxnSpMkLst>
            <pc:docMk/>
            <pc:sldMk cId="120020239" sldId="677"/>
            <ac:cxnSpMk id="132" creationId="{198DC975-6249-43A7-8EBA-2B62A8EBA322}"/>
          </ac:cxnSpMkLst>
        </pc:cxnChg>
        <pc:cxnChg chg="add mod">
          <ac:chgData name="Sam Mesel" userId="1ee7badb-5d1f-4872-89ae-dcf7b71f276a" providerId="ADAL" clId="{53886FC4-CEC3-49C2-A16F-E052A3E85A45}" dt="2020-03-19T15:43:19.029" v="5425" actId="208"/>
          <ac:cxnSpMkLst>
            <pc:docMk/>
            <pc:sldMk cId="120020239" sldId="677"/>
            <ac:cxnSpMk id="142" creationId="{8F9F469D-687A-46D8-8AB2-D7036B1C7687}"/>
          </ac:cxnSpMkLst>
        </pc:cxnChg>
        <pc:cxnChg chg="add mod">
          <ac:chgData name="Sam Mesel" userId="1ee7badb-5d1f-4872-89ae-dcf7b71f276a" providerId="ADAL" clId="{53886FC4-CEC3-49C2-A16F-E052A3E85A45}" dt="2020-03-19T15:42:41.986" v="5417" actId="208"/>
          <ac:cxnSpMkLst>
            <pc:docMk/>
            <pc:sldMk cId="120020239" sldId="677"/>
            <ac:cxnSpMk id="143" creationId="{7989D623-8E95-423A-881D-07A3A95D6032}"/>
          </ac:cxnSpMkLst>
        </pc:cxnChg>
        <pc:cxnChg chg="add mod">
          <ac:chgData name="Sam Mesel" userId="1ee7badb-5d1f-4872-89ae-dcf7b71f276a" providerId="ADAL" clId="{53886FC4-CEC3-49C2-A16F-E052A3E85A45}" dt="2020-03-19T15:43:21.641" v="5426" actId="208"/>
          <ac:cxnSpMkLst>
            <pc:docMk/>
            <pc:sldMk cId="120020239" sldId="677"/>
            <ac:cxnSpMk id="160" creationId="{16339C85-4283-475D-B612-98EE373FE2B1}"/>
          </ac:cxnSpMkLst>
        </pc:cxnChg>
        <pc:cxnChg chg="add mod">
          <ac:chgData name="Sam Mesel" userId="1ee7badb-5d1f-4872-89ae-dcf7b71f276a" providerId="ADAL" clId="{53886FC4-CEC3-49C2-A16F-E052A3E85A45}" dt="2020-03-19T15:42:45.901" v="5419" actId="208"/>
          <ac:cxnSpMkLst>
            <pc:docMk/>
            <pc:sldMk cId="120020239" sldId="677"/>
            <ac:cxnSpMk id="161" creationId="{88E28738-6A2E-4352-B2A9-AEBEDD88AE99}"/>
          </ac:cxnSpMkLst>
        </pc:cxnChg>
        <pc:cxnChg chg="add mod">
          <ac:chgData name="Sam Mesel" userId="1ee7badb-5d1f-4872-89ae-dcf7b71f276a" providerId="ADAL" clId="{53886FC4-CEC3-49C2-A16F-E052A3E85A45}" dt="2020-03-19T15:42:32.895" v="5414" actId="208"/>
          <ac:cxnSpMkLst>
            <pc:docMk/>
            <pc:sldMk cId="120020239" sldId="677"/>
            <ac:cxnSpMk id="169" creationId="{3FFA7F5E-CD56-4028-87CB-89A3E748FA42}"/>
          </ac:cxnSpMkLst>
        </pc:cxnChg>
        <pc:cxnChg chg="add">
          <ac:chgData name="Sam Mesel" userId="1ee7badb-5d1f-4872-89ae-dcf7b71f276a" providerId="ADAL" clId="{53886FC4-CEC3-49C2-A16F-E052A3E85A45}" dt="2020-03-11T03:14:52.273" v="3612"/>
          <ac:cxnSpMkLst>
            <pc:docMk/>
            <pc:sldMk cId="120020239" sldId="677"/>
            <ac:cxnSpMk id="170" creationId="{FF097824-5099-4459-B883-8112729228BC}"/>
          </ac:cxnSpMkLst>
        </pc:cxnChg>
        <pc:cxnChg chg="add mod">
          <ac:chgData name="Sam Mesel" userId="1ee7badb-5d1f-4872-89ae-dcf7b71f276a" providerId="ADAL" clId="{53886FC4-CEC3-49C2-A16F-E052A3E85A45}" dt="2020-03-19T15:42:43.037" v="5418" actId="208"/>
          <ac:cxnSpMkLst>
            <pc:docMk/>
            <pc:sldMk cId="120020239" sldId="677"/>
            <ac:cxnSpMk id="171" creationId="{12C4A719-AB2C-43A9-B231-DB6172AD2CFF}"/>
          </ac:cxnSpMkLst>
        </pc:cxnChg>
      </pc:sldChg>
      <pc:sldChg chg="addSp delSp modSp new mod ord modAnim">
        <pc:chgData name="Sam Mesel" userId="1ee7badb-5d1f-4872-89ae-dcf7b71f276a" providerId="ADAL" clId="{53886FC4-CEC3-49C2-A16F-E052A3E85A45}" dt="2020-03-19T15:39:31.751" v="5388" actId="208"/>
        <pc:sldMkLst>
          <pc:docMk/>
          <pc:sldMk cId="2423425577" sldId="678"/>
        </pc:sldMkLst>
        <pc:spChg chg="mod">
          <ac:chgData name="Sam Mesel" userId="1ee7badb-5d1f-4872-89ae-dcf7b71f276a" providerId="ADAL" clId="{53886FC4-CEC3-49C2-A16F-E052A3E85A45}" dt="2020-03-11T22:12:18.950" v="3671" actId="20577"/>
          <ac:spMkLst>
            <pc:docMk/>
            <pc:sldMk cId="2423425577" sldId="678"/>
            <ac:spMk id="2" creationId="{8E5F4152-6AD6-46D5-AD57-CDC91D06F254}"/>
          </ac:spMkLst>
        </pc:spChg>
        <pc:spChg chg="mod">
          <ac:chgData name="Sam Mesel" userId="1ee7badb-5d1f-4872-89ae-dcf7b71f276a" providerId="ADAL" clId="{53886FC4-CEC3-49C2-A16F-E052A3E85A45}" dt="2020-03-11T22:12:28.471" v="3673" actId="6549"/>
          <ac:spMkLst>
            <pc:docMk/>
            <pc:sldMk cId="2423425577" sldId="678"/>
            <ac:spMk id="3" creationId="{B1D023C5-C0D2-4FCC-9E41-5FD37CAED508}"/>
          </ac:spMkLst>
        </pc:spChg>
        <pc:spChg chg="del">
          <ac:chgData name="Sam Mesel" userId="1ee7badb-5d1f-4872-89ae-dcf7b71f276a" providerId="ADAL" clId="{53886FC4-CEC3-49C2-A16F-E052A3E85A45}" dt="2020-03-11T03:10:43.937" v="3574" actId="478"/>
          <ac:spMkLst>
            <pc:docMk/>
            <pc:sldMk cId="2423425577" sldId="678"/>
            <ac:spMk id="4" creationId="{E3AD8D99-7F4D-40A1-8C47-48DA41F9D5FB}"/>
          </ac:spMkLst>
        </pc:spChg>
        <pc:spChg chg="add del">
          <ac:chgData name="Sam Mesel" userId="1ee7badb-5d1f-4872-89ae-dcf7b71f276a" providerId="ADAL" clId="{53886FC4-CEC3-49C2-A16F-E052A3E85A45}" dt="2020-03-11T03:10:48.764" v="3576"/>
          <ac:spMkLst>
            <pc:docMk/>
            <pc:sldMk cId="2423425577" sldId="678"/>
            <ac:spMk id="5" creationId="{02A8A070-DB99-419D-8D99-F239AE33E1EB}"/>
          </ac:spMkLst>
        </pc:spChg>
        <pc:spChg chg="add del">
          <ac:chgData name="Sam Mesel" userId="1ee7badb-5d1f-4872-89ae-dcf7b71f276a" providerId="ADAL" clId="{53886FC4-CEC3-49C2-A16F-E052A3E85A45}" dt="2020-03-11T03:12:47.654" v="3600" actId="478"/>
          <ac:spMkLst>
            <pc:docMk/>
            <pc:sldMk cId="2423425577" sldId="678"/>
            <ac:spMk id="6" creationId="{5E3662D6-E68A-41ED-A224-FBF5D0F0C0CD}"/>
          </ac:spMkLst>
        </pc:spChg>
        <pc:spChg chg="add">
          <ac:chgData name="Sam Mesel" userId="1ee7badb-5d1f-4872-89ae-dcf7b71f276a" providerId="ADAL" clId="{53886FC4-CEC3-49C2-A16F-E052A3E85A45}" dt="2020-03-11T03:11:02.787" v="3577"/>
          <ac:spMkLst>
            <pc:docMk/>
            <pc:sldMk cId="2423425577" sldId="678"/>
            <ac:spMk id="12" creationId="{63056667-24BD-42A8-8A1C-1D1B8F9BD1A0}"/>
          </ac:spMkLst>
        </pc:spChg>
        <pc:spChg chg="add">
          <ac:chgData name="Sam Mesel" userId="1ee7badb-5d1f-4872-89ae-dcf7b71f276a" providerId="ADAL" clId="{53886FC4-CEC3-49C2-A16F-E052A3E85A45}" dt="2020-03-11T03:11:02.787" v="3577"/>
          <ac:spMkLst>
            <pc:docMk/>
            <pc:sldMk cId="2423425577" sldId="678"/>
            <ac:spMk id="13" creationId="{D181CE8E-B0D1-4124-85E7-E83ED42F88C0}"/>
          </ac:spMkLst>
        </pc:spChg>
        <pc:spChg chg="add">
          <ac:chgData name="Sam Mesel" userId="1ee7badb-5d1f-4872-89ae-dcf7b71f276a" providerId="ADAL" clId="{53886FC4-CEC3-49C2-A16F-E052A3E85A45}" dt="2020-03-11T03:11:02.787" v="3577"/>
          <ac:spMkLst>
            <pc:docMk/>
            <pc:sldMk cId="2423425577" sldId="678"/>
            <ac:spMk id="14" creationId="{8B5BE213-040E-4037-8EDB-14F388D33928}"/>
          </ac:spMkLst>
        </pc:spChg>
        <pc:spChg chg="add">
          <ac:chgData name="Sam Mesel" userId="1ee7badb-5d1f-4872-89ae-dcf7b71f276a" providerId="ADAL" clId="{53886FC4-CEC3-49C2-A16F-E052A3E85A45}" dt="2020-03-11T03:11:02.787" v="3577"/>
          <ac:spMkLst>
            <pc:docMk/>
            <pc:sldMk cId="2423425577" sldId="678"/>
            <ac:spMk id="15" creationId="{04B46463-6976-4F57-A74D-6D55E72EF777}"/>
          </ac:spMkLst>
        </pc:spChg>
        <pc:spChg chg="mod">
          <ac:chgData name="Sam Mesel" userId="1ee7badb-5d1f-4872-89ae-dcf7b71f276a" providerId="ADAL" clId="{53886FC4-CEC3-49C2-A16F-E052A3E85A45}" dt="2020-03-19T15:39:12.179" v="5384" actId="207"/>
          <ac:spMkLst>
            <pc:docMk/>
            <pc:sldMk cId="2423425577" sldId="678"/>
            <ac:spMk id="20" creationId="{329641DA-23E4-4081-96BF-5A14CF530E7B}"/>
          </ac:spMkLst>
        </pc:spChg>
        <pc:spChg chg="mod">
          <ac:chgData name="Sam Mesel" userId="1ee7badb-5d1f-4872-89ae-dcf7b71f276a" providerId="ADAL" clId="{53886FC4-CEC3-49C2-A16F-E052A3E85A45}" dt="2020-03-19T15:38:50.443" v="5382" actId="208"/>
          <ac:spMkLst>
            <pc:docMk/>
            <pc:sldMk cId="2423425577" sldId="678"/>
            <ac:spMk id="21" creationId="{47C4DDCC-DAF3-47E7-AF28-A1E0567C4D81}"/>
          </ac:spMkLst>
        </pc:spChg>
        <pc:spChg chg="mod">
          <ac:chgData name="Sam Mesel" userId="1ee7badb-5d1f-4872-89ae-dcf7b71f276a" providerId="ADAL" clId="{53886FC4-CEC3-49C2-A16F-E052A3E85A45}" dt="2020-03-19T15:38:50.443" v="5382" actId="208"/>
          <ac:spMkLst>
            <pc:docMk/>
            <pc:sldMk cId="2423425577" sldId="678"/>
            <ac:spMk id="22" creationId="{3906D2AB-DCEB-4C61-B305-8E9CAED9B414}"/>
          </ac:spMkLst>
        </pc:spChg>
        <pc:spChg chg="mod">
          <ac:chgData name="Sam Mesel" userId="1ee7badb-5d1f-4872-89ae-dcf7b71f276a" providerId="ADAL" clId="{53886FC4-CEC3-49C2-A16F-E052A3E85A45}" dt="2020-03-19T15:38:50.443" v="5382" actId="208"/>
          <ac:spMkLst>
            <pc:docMk/>
            <pc:sldMk cId="2423425577" sldId="678"/>
            <ac:spMk id="23" creationId="{3A789D20-50EF-473A-9443-30E32EC50D82}"/>
          </ac:spMkLst>
        </pc:spChg>
        <pc:spChg chg="mod">
          <ac:chgData name="Sam Mesel" userId="1ee7badb-5d1f-4872-89ae-dcf7b71f276a" providerId="ADAL" clId="{53886FC4-CEC3-49C2-A16F-E052A3E85A45}" dt="2020-03-19T15:38:50.443" v="5382" actId="208"/>
          <ac:spMkLst>
            <pc:docMk/>
            <pc:sldMk cId="2423425577" sldId="678"/>
            <ac:spMk id="24" creationId="{E092A925-5C64-42A4-AB7C-68D3FEB86D97}"/>
          </ac:spMkLst>
        </pc:spChg>
        <pc:spChg chg="mod">
          <ac:chgData name="Sam Mesel" userId="1ee7badb-5d1f-4872-89ae-dcf7b71f276a" providerId="ADAL" clId="{53886FC4-CEC3-49C2-A16F-E052A3E85A45}" dt="2020-03-19T15:38:50.443" v="5382" actId="208"/>
          <ac:spMkLst>
            <pc:docMk/>
            <pc:sldMk cId="2423425577" sldId="678"/>
            <ac:spMk id="25" creationId="{3D5A67BC-D026-4609-93EE-17ABE4CB0D1D}"/>
          </ac:spMkLst>
        </pc:spChg>
        <pc:spChg chg="mod">
          <ac:chgData name="Sam Mesel" userId="1ee7badb-5d1f-4872-89ae-dcf7b71f276a" providerId="ADAL" clId="{53886FC4-CEC3-49C2-A16F-E052A3E85A45}" dt="2020-03-19T15:38:50.443" v="5382" actId="208"/>
          <ac:spMkLst>
            <pc:docMk/>
            <pc:sldMk cId="2423425577" sldId="678"/>
            <ac:spMk id="26" creationId="{41E68A5B-1EF1-45D0-A012-5F65EFF20177}"/>
          </ac:spMkLst>
        </pc:spChg>
        <pc:spChg chg="mod">
          <ac:chgData name="Sam Mesel" userId="1ee7badb-5d1f-4872-89ae-dcf7b71f276a" providerId="ADAL" clId="{53886FC4-CEC3-49C2-A16F-E052A3E85A45}" dt="2020-03-19T15:38:43.656" v="5381" actId="208"/>
          <ac:spMkLst>
            <pc:docMk/>
            <pc:sldMk cId="2423425577" sldId="678"/>
            <ac:spMk id="29" creationId="{5D63D6A7-8D7B-4FD9-83C0-B663ED48C192}"/>
          </ac:spMkLst>
        </pc:spChg>
        <pc:spChg chg="mod">
          <ac:chgData name="Sam Mesel" userId="1ee7badb-5d1f-4872-89ae-dcf7b71f276a" providerId="ADAL" clId="{53886FC4-CEC3-49C2-A16F-E052A3E85A45}" dt="2020-03-19T15:38:43.656" v="5381" actId="208"/>
          <ac:spMkLst>
            <pc:docMk/>
            <pc:sldMk cId="2423425577" sldId="678"/>
            <ac:spMk id="30" creationId="{8A307C1D-FC2A-404D-BCC3-D783881A07A6}"/>
          </ac:spMkLst>
        </pc:spChg>
        <pc:spChg chg="mod">
          <ac:chgData name="Sam Mesel" userId="1ee7badb-5d1f-4872-89ae-dcf7b71f276a" providerId="ADAL" clId="{53886FC4-CEC3-49C2-A16F-E052A3E85A45}" dt="2020-03-19T15:38:43.656" v="5381" actId="208"/>
          <ac:spMkLst>
            <pc:docMk/>
            <pc:sldMk cId="2423425577" sldId="678"/>
            <ac:spMk id="31" creationId="{1291609C-A473-4239-BD6C-C8B06C2F270D}"/>
          </ac:spMkLst>
        </pc:spChg>
        <pc:spChg chg="mod">
          <ac:chgData name="Sam Mesel" userId="1ee7badb-5d1f-4872-89ae-dcf7b71f276a" providerId="ADAL" clId="{53886FC4-CEC3-49C2-A16F-E052A3E85A45}" dt="2020-03-19T15:38:43.656" v="5381" actId="208"/>
          <ac:spMkLst>
            <pc:docMk/>
            <pc:sldMk cId="2423425577" sldId="678"/>
            <ac:spMk id="32" creationId="{AD71447E-D126-4F75-B8C8-B761F5B234E6}"/>
          </ac:spMkLst>
        </pc:spChg>
        <pc:spChg chg="mod">
          <ac:chgData name="Sam Mesel" userId="1ee7badb-5d1f-4872-89ae-dcf7b71f276a" providerId="ADAL" clId="{53886FC4-CEC3-49C2-A16F-E052A3E85A45}" dt="2020-03-19T15:38:43.656" v="5381" actId="208"/>
          <ac:spMkLst>
            <pc:docMk/>
            <pc:sldMk cId="2423425577" sldId="678"/>
            <ac:spMk id="33" creationId="{6C3F08E2-045F-4F85-A1D1-F6B01B84E9C5}"/>
          </ac:spMkLst>
        </pc:spChg>
        <pc:spChg chg="mod">
          <ac:chgData name="Sam Mesel" userId="1ee7badb-5d1f-4872-89ae-dcf7b71f276a" providerId="ADAL" clId="{53886FC4-CEC3-49C2-A16F-E052A3E85A45}" dt="2020-03-19T15:38:43.656" v="5381" actId="208"/>
          <ac:spMkLst>
            <pc:docMk/>
            <pc:sldMk cId="2423425577" sldId="678"/>
            <ac:spMk id="34" creationId="{B0569EA0-42E6-4005-868D-18985E606C1D}"/>
          </ac:spMkLst>
        </pc:spChg>
        <pc:spChg chg="mod">
          <ac:chgData name="Sam Mesel" userId="1ee7badb-5d1f-4872-89ae-dcf7b71f276a" providerId="ADAL" clId="{53886FC4-CEC3-49C2-A16F-E052A3E85A45}" dt="2020-03-19T15:38:43.656" v="5381" actId="208"/>
          <ac:spMkLst>
            <pc:docMk/>
            <pc:sldMk cId="2423425577" sldId="678"/>
            <ac:spMk id="35" creationId="{EA3FC12F-14DA-45D6-93A5-00CB022E084E}"/>
          </ac:spMkLst>
        </pc:spChg>
        <pc:spChg chg="mod">
          <ac:chgData name="Sam Mesel" userId="1ee7badb-5d1f-4872-89ae-dcf7b71f276a" providerId="ADAL" clId="{53886FC4-CEC3-49C2-A16F-E052A3E85A45}" dt="2020-03-19T15:38:43.656" v="5381" actId="208"/>
          <ac:spMkLst>
            <pc:docMk/>
            <pc:sldMk cId="2423425577" sldId="678"/>
            <ac:spMk id="36" creationId="{8126CAB0-81B6-4C47-89AE-E103C61AE394}"/>
          </ac:spMkLst>
        </pc:spChg>
        <pc:spChg chg="mod">
          <ac:chgData name="Sam Mesel" userId="1ee7badb-5d1f-4872-89ae-dcf7b71f276a" providerId="ADAL" clId="{53886FC4-CEC3-49C2-A16F-E052A3E85A45}" dt="2020-03-19T15:39:31.751" v="5388" actId="208"/>
          <ac:spMkLst>
            <pc:docMk/>
            <pc:sldMk cId="2423425577" sldId="678"/>
            <ac:spMk id="37" creationId="{9BB94217-80CE-40B8-BDBA-478B2E76A843}"/>
          </ac:spMkLst>
        </pc:spChg>
        <pc:spChg chg="add">
          <ac:chgData name="Sam Mesel" userId="1ee7badb-5d1f-4872-89ae-dcf7b71f276a" providerId="ADAL" clId="{53886FC4-CEC3-49C2-A16F-E052A3E85A45}" dt="2020-03-11T03:11:02.787" v="3577"/>
          <ac:spMkLst>
            <pc:docMk/>
            <pc:sldMk cId="2423425577" sldId="678"/>
            <ac:spMk id="46" creationId="{02ED59ED-C897-45BD-B177-1E77D9BCF6CE}"/>
          </ac:spMkLst>
        </pc:spChg>
        <pc:spChg chg="add">
          <ac:chgData name="Sam Mesel" userId="1ee7badb-5d1f-4872-89ae-dcf7b71f276a" providerId="ADAL" clId="{53886FC4-CEC3-49C2-A16F-E052A3E85A45}" dt="2020-03-11T03:11:02.787" v="3577"/>
          <ac:spMkLst>
            <pc:docMk/>
            <pc:sldMk cId="2423425577" sldId="678"/>
            <ac:spMk id="47" creationId="{6EBAF503-1439-4CE9-ABA3-3235A3690DF1}"/>
          </ac:spMkLst>
        </pc:spChg>
        <pc:spChg chg="add mod">
          <ac:chgData name="Sam Mesel" userId="1ee7badb-5d1f-4872-89ae-dcf7b71f276a" providerId="ADAL" clId="{53886FC4-CEC3-49C2-A16F-E052A3E85A45}" dt="2020-03-19T15:38:04.394" v="5379" actId="208"/>
          <ac:spMkLst>
            <pc:docMk/>
            <pc:sldMk cId="2423425577" sldId="678"/>
            <ac:spMk id="48" creationId="{8BD3CB33-A79D-4CF8-BF28-16B7BCF07B02}"/>
          </ac:spMkLst>
        </pc:spChg>
        <pc:spChg chg="add mod">
          <ac:chgData name="Sam Mesel" userId="1ee7badb-5d1f-4872-89ae-dcf7b71f276a" providerId="ADAL" clId="{53886FC4-CEC3-49C2-A16F-E052A3E85A45}" dt="2020-03-11T22:20:27.371" v="3828" actId="20577"/>
          <ac:spMkLst>
            <pc:docMk/>
            <pc:sldMk cId="2423425577" sldId="678"/>
            <ac:spMk id="49" creationId="{A5C4CD31-C443-4104-9B21-CF43D9C846DB}"/>
          </ac:spMkLst>
        </pc:spChg>
        <pc:grpChg chg="add">
          <ac:chgData name="Sam Mesel" userId="1ee7badb-5d1f-4872-89ae-dcf7b71f276a" providerId="ADAL" clId="{53886FC4-CEC3-49C2-A16F-E052A3E85A45}" dt="2020-03-11T03:11:02.787" v="3577"/>
          <ac:grpSpMkLst>
            <pc:docMk/>
            <pc:sldMk cId="2423425577" sldId="678"/>
            <ac:grpSpMk id="7" creationId="{9236FAAC-07C2-4650-9EF4-9595031DD9DC}"/>
          </ac:grpSpMkLst>
        </pc:grpChg>
        <pc:grpChg chg="add">
          <ac:chgData name="Sam Mesel" userId="1ee7badb-5d1f-4872-89ae-dcf7b71f276a" providerId="ADAL" clId="{53886FC4-CEC3-49C2-A16F-E052A3E85A45}" dt="2020-03-11T03:11:02.787" v="3577"/>
          <ac:grpSpMkLst>
            <pc:docMk/>
            <pc:sldMk cId="2423425577" sldId="678"/>
            <ac:grpSpMk id="18" creationId="{CF2A9F90-94BA-4962-BB0B-463BDCC60D34}"/>
          </ac:grpSpMkLst>
        </pc:grpChg>
        <pc:grpChg chg="add">
          <ac:chgData name="Sam Mesel" userId="1ee7badb-5d1f-4872-89ae-dcf7b71f276a" providerId="ADAL" clId="{53886FC4-CEC3-49C2-A16F-E052A3E85A45}" dt="2020-03-11T03:11:02.787" v="3577"/>
          <ac:grpSpMkLst>
            <pc:docMk/>
            <pc:sldMk cId="2423425577" sldId="678"/>
            <ac:grpSpMk id="28" creationId="{2CB2C712-2B23-43AB-AABF-D0FDA92D4E8B}"/>
          </ac:grpSpMkLst>
        </pc:grpChg>
        <pc:grpChg chg="add">
          <ac:chgData name="Sam Mesel" userId="1ee7badb-5d1f-4872-89ae-dcf7b71f276a" providerId="ADAL" clId="{53886FC4-CEC3-49C2-A16F-E052A3E85A45}" dt="2020-03-11T03:11:02.787" v="3577"/>
          <ac:grpSpMkLst>
            <pc:docMk/>
            <pc:sldMk cId="2423425577" sldId="678"/>
            <ac:grpSpMk id="39" creationId="{666F6B1F-E545-4A82-8FBB-E2102D44A3D4}"/>
          </ac:grpSpMkLst>
        </pc:grpChg>
        <pc:cxnChg chg="add">
          <ac:chgData name="Sam Mesel" userId="1ee7badb-5d1f-4872-89ae-dcf7b71f276a" providerId="ADAL" clId="{53886FC4-CEC3-49C2-A16F-E052A3E85A45}" dt="2020-03-11T03:11:02.787" v="3577"/>
          <ac:cxnSpMkLst>
            <pc:docMk/>
            <pc:sldMk cId="2423425577" sldId="678"/>
            <ac:cxnSpMk id="16" creationId="{32EFFD0A-5488-4040-9E53-E4B179C92EAB}"/>
          </ac:cxnSpMkLst>
        </pc:cxnChg>
        <pc:cxnChg chg="add">
          <ac:chgData name="Sam Mesel" userId="1ee7badb-5d1f-4872-89ae-dcf7b71f276a" providerId="ADAL" clId="{53886FC4-CEC3-49C2-A16F-E052A3E85A45}" dt="2020-03-11T03:11:02.787" v="3577"/>
          <ac:cxnSpMkLst>
            <pc:docMk/>
            <pc:sldMk cId="2423425577" sldId="678"/>
            <ac:cxnSpMk id="17" creationId="{2EE16880-12F3-4789-BEF0-E7C7A7AC44C6}"/>
          </ac:cxnSpMkLst>
        </pc:cxnChg>
        <pc:cxnChg chg="add mod">
          <ac:chgData name="Sam Mesel" userId="1ee7badb-5d1f-4872-89ae-dcf7b71f276a" providerId="ADAL" clId="{53886FC4-CEC3-49C2-A16F-E052A3E85A45}" dt="2020-03-19T15:38:27.110" v="5380" actId="208"/>
          <ac:cxnSpMkLst>
            <pc:docMk/>
            <pc:sldMk cId="2423425577" sldId="678"/>
            <ac:cxnSpMk id="27" creationId="{A3C78F01-CCCB-43FD-A7CE-CC6351B87601}"/>
          </ac:cxnSpMkLst>
        </pc:cxnChg>
        <pc:cxnChg chg="add mod">
          <ac:chgData name="Sam Mesel" userId="1ee7badb-5d1f-4872-89ae-dcf7b71f276a" providerId="ADAL" clId="{53886FC4-CEC3-49C2-A16F-E052A3E85A45}" dt="2020-03-19T15:38:27.110" v="5380" actId="208"/>
          <ac:cxnSpMkLst>
            <pc:docMk/>
            <pc:sldMk cId="2423425577" sldId="678"/>
            <ac:cxnSpMk id="38" creationId="{93B0AB7F-81B8-473F-8A9D-9E8637DEC4FC}"/>
          </ac:cxnSpMkLst>
        </pc:cxnChg>
        <pc:cxnChg chg="add mod">
          <ac:chgData name="Sam Mesel" userId="1ee7badb-5d1f-4872-89ae-dcf7b71f276a" providerId="ADAL" clId="{53886FC4-CEC3-49C2-A16F-E052A3E85A45}" dt="2020-03-19T15:38:27.110" v="5380" actId="208"/>
          <ac:cxnSpMkLst>
            <pc:docMk/>
            <pc:sldMk cId="2423425577" sldId="678"/>
            <ac:cxnSpMk id="44" creationId="{DCEB1710-76D1-4361-9BD2-0E3C840C626F}"/>
          </ac:cxnSpMkLst>
        </pc:cxnChg>
        <pc:cxnChg chg="add mod">
          <ac:chgData name="Sam Mesel" userId="1ee7badb-5d1f-4872-89ae-dcf7b71f276a" providerId="ADAL" clId="{53886FC4-CEC3-49C2-A16F-E052A3E85A45}" dt="2020-03-19T15:38:27.110" v="5380" actId="208"/>
          <ac:cxnSpMkLst>
            <pc:docMk/>
            <pc:sldMk cId="2423425577" sldId="678"/>
            <ac:cxnSpMk id="45" creationId="{9F4606B6-F5A7-4CDA-B805-63259B6EB4C0}"/>
          </ac:cxnSpMkLst>
        </pc:cxnChg>
      </pc:sldChg>
      <pc:sldChg chg="addSp delSp modSp new mod modAnim">
        <pc:chgData name="Sam Mesel" userId="1ee7badb-5d1f-4872-89ae-dcf7b71f276a" providerId="ADAL" clId="{53886FC4-CEC3-49C2-A16F-E052A3E85A45}" dt="2020-03-19T15:46:12.514" v="5449" actId="6549"/>
        <pc:sldMkLst>
          <pc:docMk/>
          <pc:sldMk cId="3736628029" sldId="679"/>
        </pc:sldMkLst>
        <pc:spChg chg="mod">
          <ac:chgData name="Sam Mesel" userId="1ee7badb-5d1f-4872-89ae-dcf7b71f276a" providerId="ADAL" clId="{53886FC4-CEC3-49C2-A16F-E052A3E85A45}" dt="2020-03-19T15:46:03.983" v="5447" actId="20577"/>
          <ac:spMkLst>
            <pc:docMk/>
            <pc:sldMk cId="3736628029" sldId="679"/>
            <ac:spMk id="2" creationId="{527A175F-ACE6-4CA1-80E7-783D16EADB33}"/>
          </ac:spMkLst>
        </pc:spChg>
        <pc:spChg chg="mod">
          <ac:chgData name="Sam Mesel" userId="1ee7badb-5d1f-4872-89ae-dcf7b71f276a" providerId="ADAL" clId="{53886FC4-CEC3-49C2-A16F-E052A3E85A45}" dt="2020-03-19T15:46:12.514" v="5449" actId="6549"/>
          <ac:spMkLst>
            <pc:docMk/>
            <pc:sldMk cId="3736628029" sldId="679"/>
            <ac:spMk id="3" creationId="{6FAD9CA5-4663-496C-BF00-E0E407289D47}"/>
          </ac:spMkLst>
        </pc:spChg>
        <pc:spChg chg="add mod">
          <ac:chgData name="Sam Mesel" userId="1ee7badb-5d1f-4872-89ae-dcf7b71f276a" providerId="ADAL" clId="{53886FC4-CEC3-49C2-A16F-E052A3E85A45}" dt="2020-03-11T22:47:17.010" v="3952" actId="1076"/>
          <ac:spMkLst>
            <pc:docMk/>
            <pc:sldMk cId="3736628029" sldId="679"/>
            <ac:spMk id="4" creationId="{46D817A7-F84C-4E23-AFCC-BAAF2E87BE27}"/>
          </ac:spMkLst>
        </pc:spChg>
        <pc:spChg chg="del">
          <ac:chgData name="Sam Mesel" userId="1ee7badb-5d1f-4872-89ae-dcf7b71f276a" providerId="ADAL" clId="{53886FC4-CEC3-49C2-A16F-E052A3E85A45}" dt="2020-03-11T03:15:23.262" v="3644" actId="478"/>
          <ac:spMkLst>
            <pc:docMk/>
            <pc:sldMk cId="3736628029" sldId="679"/>
            <ac:spMk id="4" creationId="{61DC524C-A256-407E-B611-F888295B8578}"/>
          </ac:spMkLst>
        </pc:spChg>
        <pc:spChg chg="add">
          <ac:chgData name="Sam Mesel" userId="1ee7badb-5d1f-4872-89ae-dcf7b71f276a" providerId="ADAL" clId="{53886FC4-CEC3-49C2-A16F-E052A3E85A45}" dt="2020-03-11T03:15:53.484" v="3645"/>
          <ac:spMkLst>
            <pc:docMk/>
            <pc:sldMk cId="3736628029" sldId="679"/>
            <ac:spMk id="15" creationId="{D6DAD6CB-0F99-49B6-863E-A4E63613FFE5}"/>
          </ac:spMkLst>
        </pc:spChg>
        <pc:spChg chg="add">
          <ac:chgData name="Sam Mesel" userId="1ee7badb-5d1f-4872-89ae-dcf7b71f276a" providerId="ADAL" clId="{53886FC4-CEC3-49C2-A16F-E052A3E85A45}" dt="2020-03-11T03:15:53.484" v="3645"/>
          <ac:spMkLst>
            <pc:docMk/>
            <pc:sldMk cId="3736628029" sldId="679"/>
            <ac:spMk id="16" creationId="{5A78A5F8-BD91-4CAD-976F-084EDA84904F}"/>
          </ac:spMkLst>
        </pc:spChg>
        <pc:spChg chg="add">
          <ac:chgData name="Sam Mesel" userId="1ee7badb-5d1f-4872-89ae-dcf7b71f276a" providerId="ADAL" clId="{53886FC4-CEC3-49C2-A16F-E052A3E85A45}" dt="2020-03-11T03:15:53.484" v="3645"/>
          <ac:spMkLst>
            <pc:docMk/>
            <pc:sldMk cId="3736628029" sldId="679"/>
            <ac:spMk id="17" creationId="{F7877A32-C71A-4380-B919-DF5495FBB4E6}"/>
          </ac:spMkLst>
        </pc:spChg>
        <pc:spChg chg="add">
          <ac:chgData name="Sam Mesel" userId="1ee7badb-5d1f-4872-89ae-dcf7b71f276a" providerId="ADAL" clId="{53886FC4-CEC3-49C2-A16F-E052A3E85A45}" dt="2020-03-11T03:15:53.484" v="3645"/>
          <ac:spMkLst>
            <pc:docMk/>
            <pc:sldMk cId="3736628029" sldId="679"/>
            <ac:spMk id="18" creationId="{F8E1FE6A-2BC8-4DAB-80A2-6F12B68FFC4A}"/>
          </ac:spMkLst>
        </pc:spChg>
        <pc:spChg chg="mod">
          <ac:chgData name="Sam Mesel" userId="1ee7badb-5d1f-4872-89ae-dcf7b71f276a" providerId="ADAL" clId="{53886FC4-CEC3-49C2-A16F-E052A3E85A45}" dt="2020-03-19T15:44:23.054" v="5432" actId="207"/>
          <ac:spMkLst>
            <pc:docMk/>
            <pc:sldMk cId="3736628029" sldId="679"/>
            <ac:spMk id="24" creationId="{DEB34D4E-BE66-4097-96BD-DC1E185F354F}"/>
          </ac:spMkLst>
        </pc:spChg>
        <pc:spChg chg="mod">
          <ac:chgData name="Sam Mesel" userId="1ee7badb-5d1f-4872-89ae-dcf7b71f276a" providerId="ADAL" clId="{53886FC4-CEC3-49C2-A16F-E052A3E85A45}" dt="2020-03-19T15:43:55.399" v="5427" actId="208"/>
          <ac:spMkLst>
            <pc:docMk/>
            <pc:sldMk cId="3736628029" sldId="679"/>
            <ac:spMk id="25" creationId="{D21CB96D-91FA-4022-B44C-369D08A79E8E}"/>
          </ac:spMkLst>
        </pc:spChg>
        <pc:spChg chg="mod">
          <ac:chgData name="Sam Mesel" userId="1ee7badb-5d1f-4872-89ae-dcf7b71f276a" providerId="ADAL" clId="{53886FC4-CEC3-49C2-A16F-E052A3E85A45}" dt="2020-03-19T15:43:55.399" v="5427" actId="208"/>
          <ac:spMkLst>
            <pc:docMk/>
            <pc:sldMk cId="3736628029" sldId="679"/>
            <ac:spMk id="26" creationId="{D6FE7BE8-0554-4092-B172-3392C8D811C2}"/>
          </ac:spMkLst>
        </pc:spChg>
        <pc:spChg chg="mod">
          <ac:chgData name="Sam Mesel" userId="1ee7badb-5d1f-4872-89ae-dcf7b71f276a" providerId="ADAL" clId="{53886FC4-CEC3-49C2-A16F-E052A3E85A45}" dt="2020-03-19T15:43:55.399" v="5427" actId="208"/>
          <ac:spMkLst>
            <pc:docMk/>
            <pc:sldMk cId="3736628029" sldId="679"/>
            <ac:spMk id="27" creationId="{B07D9E59-CB56-47D5-85EC-399EC5850E97}"/>
          </ac:spMkLst>
        </pc:spChg>
        <pc:spChg chg="mod">
          <ac:chgData name="Sam Mesel" userId="1ee7badb-5d1f-4872-89ae-dcf7b71f276a" providerId="ADAL" clId="{53886FC4-CEC3-49C2-A16F-E052A3E85A45}" dt="2020-03-19T15:43:55.399" v="5427" actId="208"/>
          <ac:spMkLst>
            <pc:docMk/>
            <pc:sldMk cId="3736628029" sldId="679"/>
            <ac:spMk id="28" creationId="{2B958C81-658A-49B1-8833-BB3007E2F525}"/>
          </ac:spMkLst>
        </pc:spChg>
        <pc:spChg chg="mod">
          <ac:chgData name="Sam Mesel" userId="1ee7badb-5d1f-4872-89ae-dcf7b71f276a" providerId="ADAL" clId="{53886FC4-CEC3-49C2-A16F-E052A3E85A45}" dt="2020-03-19T15:43:55.399" v="5427" actId="208"/>
          <ac:spMkLst>
            <pc:docMk/>
            <pc:sldMk cId="3736628029" sldId="679"/>
            <ac:spMk id="29" creationId="{9464D36D-3801-4658-9CEC-FCC4BD8DCDFD}"/>
          </ac:spMkLst>
        </pc:spChg>
        <pc:spChg chg="mod">
          <ac:chgData name="Sam Mesel" userId="1ee7badb-5d1f-4872-89ae-dcf7b71f276a" providerId="ADAL" clId="{53886FC4-CEC3-49C2-A16F-E052A3E85A45}" dt="2020-03-19T15:43:55.399" v="5427" actId="208"/>
          <ac:spMkLst>
            <pc:docMk/>
            <pc:sldMk cId="3736628029" sldId="679"/>
            <ac:spMk id="30" creationId="{C0C3EE50-6A52-4158-9067-16AFD4DF6572}"/>
          </ac:spMkLst>
        </pc:spChg>
        <pc:spChg chg="mod">
          <ac:chgData name="Sam Mesel" userId="1ee7badb-5d1f-4872-89ae-dcf7b71f276a" providerId="ADAL" clId="{53886FC4-CEC3-49C2-A16F-E052A3E85A45}" dt="2020-03-19T15:44:01.644" v="5428" actId="208"/>
          <ac:spMkLst>
            <pc:docMk/>
            <pc:sldMk cId="3736628029" sldId="679"/>
            <ac:spMk id="34" creationId="{86342C4D-85CA-460A-B036-61CB2BFBE448}"/>
          </ac:spMkLst>
        </pc:spChg>
        <pc:spChg chg="mod">
          <ac:chgData name="Sam Mesel" userId="1ee7badb-5d1f-4872-89ae-dcf7b71f276a" providerId="ADAL" clId="{53886FC4-CEC3-49C2-A16F-E052A3E85A45}" dt="2020-03-19T15:44:01.644" v="5428" actId="208"/>
          <ac:spMkLst>
            <pc:docMk/>
            <pc:sldMk cId="3736628029" sldId="679"/>
            <ac:spMk id="35" creationId="{8F037B01-2DC1-408A-A3DD-4F49F494D7E4}"/>
          </ac:spMkLst>
        </pc:spChg>
        <pc:spChg chg="mod">
          <ac:chgData name="Sam Mesel" userId="1ee7badb-5d1f-4872-89ae-dcf7b71f276a" providerId="ADAL" clId="{53886FC4-CEC3-49C2-A16F-E052A3E85A45}" dt="2020-03-19T15:44:01.644" v="5428" actId="208"/>
          <ac:spMkLst>
            <pc:docMk/>
            <pc:sldMk cId="3736628029" sldId="679"/>
            <ac:spMk id="36" creationId="{6F23DDB7-BE81-4874-8801-1EE8644C6A2A}"/>
          </ac:spMkLst>
        </pc:spChg>
        <pc:spChg chg="mod">
          <ac:chgData name="Sam Mesel" userId="1ee7badb-5d1f-4872-89ae-dcf7b71f276a" providerId="ADAL" clId="{53886FC4-CEC3-49C2-A16F-E052A3E85A45}" dt="2020-03-19T15:44:01.644" v="5428" actId="208"/>
          <ac:spMkLst>
            <pc:docMk/>
            <pc:sldMk cId="3736628029" sldId="679"/>
            <ac:spMk id="37" creationId="{6A590AAA-3CD4-4231-8D7B-84434FC65976}"/>
          </ac:spMkLst>
        </pc:spChg>
        <pc:spChg chg="mod">
          <ac:chgData name="Sam Mesel" userId="1ee7badb-5d1f-4872-89ae-dcf7b71f276a" providerId="ADAL" clId="{53886FC4-CEC3-49C2-A16F-E052A3E85A45}" dt="2020-03-19T15:44:01.644" v="5428" actId="208"/>
          <ac:spMkLst>
            <pc:docMk/>
            <pc:sldMk cId="3736628029" sldId="679"/>
            <ac:spMk id="38" creationId="{DC17CFDE-7494-4800-8F8F-1533134EE1D2}"/>
          </ac:spMkLst>
        </pc:spChg>
        <pc:spChg chg="mod">
          <ac:chgData name="Sam Mesel" userId="1ee7badb-5d1f-4872-89ae-dcf7b71f276a" providerId="ADAL" clId="{53886FC4-CEC3-49C2-A16F-E052A3E85A45}" dt="2020-03-19T15:44:01.644" v="5428" actId="208"/>
          <ac:spMkLst>
            <pc:docMk/>
            <pc:sldMk cId="3736628029" sldId="679"/>
            <ac:spMk id="39" creationId="{E6B14D61-BFED-415A-B7C9-F9FA30875245}"/>
          </ac:spMkLst>
        </pc:spChg>
        <pc:spChg chg="mod">
          <ac:chgData name="Sam Mesel" userId="1ee7badb-5d1f-4872-89ae-dcf7b71f276a" providerId="ADAL" clId="{53886FC4-CEC3-49C2-A16F-E052A3E85A45}" dt="2020-03-19T15:44:01.644" v="5428" actId="208"/>
          <ac:spMkLst>
            <pc:docMk/>
            <pc:sldMk cId="3736628029" sldId="679"/>
            <ac:spMk id="40" creationId="{F26CCEF9-09F5-4317-9506-77D08DD207F5}"/>
          </ac:spMkLst>
        </pc:spChg>
        <pc:spChg chg="mod">
          <ac:chgData name="Sam Mesel" userId="1ee7badb-5d1f-4872-89ae-dcf7b71f276a" providerId="ADAL" clId="{53886FC4-CEC3-49C2-A16F-E052A3E85A45}" dt="2020-03-19T15:44:01.644" v="5428" actId="208"/>
          <ac:spMkLst>
            <pc:docMk/>
            <pc:sldMk cId="3736628029" sldId="679"/>
            <ac:spMk id="41" creationId="{F005A197-444A-4312-A99B-3C53F5EEA9F9}"/>
          </ac:spMkLst>
        </pc:spChg>
        <pc:spChg chg="mod">
          <ac:chgData name="Sam Mesel" userId="1ee7badb-5d1f-4872-89ae-dcf7b71f276a" providerId="ADAL" clId="{53886FC4-CEC3-49C2-A16F-E052A3E85A45}" dt="2020-03-19T15:44:18.270" v="5431" actId="207"/>
          <ac:spMkLst>
            <pc:docMk/>
            <pc:sldMk cId="3736628029" sldId="679"/>
            <ac:spMk id="42" creationId="{A767A2BF-33A6-4B07-A96A-4CCEE9A2E8FB}"/>
          </ac:spMkLst>
        </pc:spChg>
        <pc:spChg chg="add">
          <ac:chgData name="Sam Mesel" userId="1ee7badb-5d1f-4872-89ae-dcf7b71f276a" providerId="ADAL" clId="{53886FC4-CEC3-49C2-A16F-E052A3E85A45}" dt="2020-03-11T03:15:53.484" v="3645"/>
          <ac:spMkLst>
            <pc:docMk/>
            <pc:sldMk cId="3736628029" sldId="679"/>
            <ac:spMk id="43" creationId="{8196D690-0DBF-46D8-A38D-B99BC4A5B4CA}"/>
          </ac:spMkLst>
        </pc:spChg>
        <pc:spChg chg="add">
          <ac:chgData name="Sam Mesel" userId="1ee7badb-5d1f-4872-89ae-dcf7b71f276a" providerId="ADAL" clId="{53886FC4-CEC3-49C2-A16F-E052A3E85A45}" dt="2020-03-11T03:15:53.484" v="3645"/>
          <ac:spMkLst>
            <pc:docMk/>
            <pc:sldMk cId="3736628029" sldId="679"/>
            <ac:spMk id="61" creationId="{F29D399A-6FB4-4D9D-8AB1-19DAECFDC9E0}"/>
          </ac:spMkLst>
        </pc:spChg>
        <pc:spChg chg="add">
          <ac:chgData name="Sam Mesel" userId="1ee7badb-5d1f-4872-89ae-dcf7b71f276a" providerId="ADAL" clId="{53886FC4-CEC3-49C2-A16F-E052A3E85A45}" dt="2020-03-11T03:15:53.484" v="3645"/>
          <ac:spMkLst>
            <pc:docMk/>
            <pc:sldMk cId="3736628029" sldId="679"/>
            <ac:spMk id="62" creationId="{6026A7F6-99D2-4CE3-A3BC-29891D967FB1}"/>
          </ac:spMkLst>
        </pc:spChg>
        <pc:spChg chg="add mod">
          <ac:chgData name="Sam Mesel" userId="1ee7badb-5d1f-4872-89ae-dcf7b71f276a" providerId="ADAL" clId="{53886FC4-CEC3-49C2-A16F-E052A3E85A45}" dt="2020-03-11T22:48:31.161" v="3964" actId="1037"/>
          <ac:spMkLst>
            <pc:docMk/>
            <pc:sldMk cId="3736628029" sldId="679"/>
            <ac:spMk id="63" creationId="{607D2292-2D43-4C61-B3B1-47B7B69BF369}"/>
          </ac:spMkLst>
        </pc:spChg>
        <pc:spChg chg="add mod">
          <ac:chgData name="Sam Mesel" userId="1ee7badb-5d1f-4872-89ae-dcf7b71f276a" providerId="ADAL" clId="{53886FC4-CEC3-49C2-A16F-E052A3E85A45}" dt="2020-03-11T22:42:47.384" v="3934" actId="1037"/>
          <ac:spMkLst>
            <pc:docMk/>
            <pc:sldMk cId="3736628029" sldId="679"/>
            <ac:spMk id="64" creationId="{A9264292-F9FA-4569-9EE5-6F6CF1C7EE7A}"/>
          </ac:spMkLst>
        </pc:spChg>
        <pc:spChg chg="add mod">
          <ac:chgData name="Sam Mesel" userId="1ee7badb-5d1f-4872-89ae-dcf7b71f276a" providerId="ADAL" clId="{53886FC4-CEC3-49C2-A16F-E052A3E85A45}" dt="2020-03-11T22:48:45.422" v="3966" actId="1037"/>
          <ac:spMkLst>
            <pc:docMk/>
            <pc:sldMk cId="3736628029" sldId="679"/>
            <ac:spMk id="74" creationId="{D64D98F3-998E-4F83-8F25-4B2A10FC174E}"/>
          </ac:spMkLst>
        </pc:spChg>
        <pc:spChg chg="add mod">
          <ac:chgData name="Sam Mesel" userId="1ee7badb-5d1f-4872-89ae-dcf7b71f276a" providerId="ADAL" clId="{53886FC4-CEC3-49C2-A16F-E052A3E85A45}" dt="2020-03-11T23:29:20.888" v="3978" actId="1076"/>
          <ac:spMkLst>
            <pc:docMk/>
            <pc:sldMk cId="3736628029" sldId="679"/>
            <ac:spMk id="77" creationId="{78449FEB-1926-4A87-9CDA-44458D7F7FA3}"/>
          </ac:spMkLst>
        </pc:spChg>
        <pc:grpChg chg="add">
          <ac:chgData name="Sam Mesel" userId="1ee7badb-5d1f-4872-89ae-dcf7b71f276a" providerId="ADAL" clId="{53886FC4-CEC3-49C2-A16F-E052A3E85A45}" dt="2020-03-11T03:15:53.484" v="3645"/>
          <ac:grpSpMkLst>
            <pc:docMk/>
            <pc:sldMk cId="3736628029" sldId="679"/>
            <ac:grpSpMk id="5" creationId="{BA19EA14-7146-495F-822B-D73E0332E081}"/>
          </ac:grpSpMkLst>
        </pc:grpChg>
        <pc:grpChg chg="add">
          <ac:chgData name="Sam Mesel" userId="1ee7badb-5d1f-4872-89ae-dcf7b71f276a" providerId="ADAL" clId="{53886FC4-CEC3-49C2-A16F-E052A3E85A45}" dt="2020-03-11T03:15:53.484" v="3645"/>
          <ac:grpSpMkLst>
            <pc:docMk/>
            <pc:sldMk cId="3736628029" sldId="679"/>
            <ac:grpSpMk id="10" creationId="{24948AB6-288F-4F90-AABD-E6DC8E90135B}"/>
          </ac:grpSpMkLst>
        </pc:grpChg>
        <pc:grpChg chg="add mod">
          <ac:chgData name="Sam Mesel" userId="1ee7badb-5d1f-4872-89ae-dcf7b71f276a" providerId="ADAL" clId="{53886FC4-CEC3-49C2-A16F-E052A3E85A45}" dt="2020-03-11T22:42:47.384" v="3934" actId="1037"/>
          <ac:grpSpMkLst>
            <pc:docMk/>
            <pc:sldMk cId="3736628029" sldId="679"/>
            <ac:grpSpMk id="22" creationId="{6D5913BB-8409-42E5-8953-2CEE491198D7}"/>
          </ac:grpSpMkLst>
        </pc:grpChg>
        <pc:grpChg chg="add">
          <ac:chgData name="Sam Mesel" userId="1ee7badb-5d1f-4872-89ae-dcf7b71f276a" providerId="ADAL" clId="{53886FC4-CEC3-49C2-A16F-E052A3E85A45}" dt="2020-03-11T03:15:53.484" v="3645"/>
          <ac:grpSpMkLst>
            <pc:docMk/>
            <pc:sldMk cId="3736628029" sldId="679"/>
            <ac:grpSpMk id="33" creationId="{DE577633-2230-48E2-AB20-2EB948EABCB4}"/>
          </ac:grpSpMkLst>
        </pc:grpChg>
        <pc:grpChg chg="add">
          <ac:chgData name="Sam Mesel" userId="1ee7badb-5d1f-4872-89ae-dcf7b71f276a" providerId="ADAL" clId="{53886FC4-CEC3-49C2-A16F-E052A3E85A45}" dt="2020-03-11T03:15:53.484" v="3645"/>
          <ac:grpSpMkLst>
            <pc:docMk/>
            <pc:sldMk cId="3736628029" sldId="679"/>
            <ac:grpSpMk id="44" creationId="{75B2D7CB-FF8E-4BE6-B14D-8CFF647E5F6F}"/>
          </ac:grpSpMkLst>
        </pc:grpChg>
        <pc:grpChg chg="add">
          <ac:chgData name="Sam Mesel" userId="1ee7badb-5d1f-4872-89ae-dcf7b71f276a" providerId="ADAL" clId="{53886FC4-CEC3-49C2-A16F-E052A3E85A45}" dt="2020-03-11T03:15:53.484" v="3645"/>
          <ac:grpSpMkLst>
            <pc:docMk/>
            <pc:sldMk cId="3736628029" sldId="679"/>
            <ac:grpSpMk id="51" creationId="{0095A8B9-B002-414D-8112-BE3BCEED9992}"/>
          </ac:grpSpMkLst>
        </pc:grpChg>
        <pc:cxnChg chg="add">
          <ac:chgData name="Sam Mesel" userId="1ee7badb-5d1f-4872-89ae-dcf7b71f276a" providerId="ADAL" clId="{53886FC4-CEC3-49C2-A16F-E052A3E85A45}" dt="2020-03-11T03:15:53.484" v="3645"/>
          <ac:cxnSpMkLst>
            <pc:docMk/>
            <pc:sldMk cId="3736628029" sldId="679"/>
            <ac:cxnSpMk id="19" creationId="{0B5AA637-BF26-48A7-9562-3803A53DDE8C}"/>
          </ac:cxnSpMkLst>
        </pc:cxnChg>
        <pc:cxnChg chg="add">
          <ac:chgData name="Sam Mesel" userId="1ee7badb-5d1f-4872-89ae-dcf7b71f276a" providerId="ADAL" clId="{53886FC4-CEC3-49C2-A16F-E052A3E85A45}" dt="2020-03-11T03:15:53.484" v="3645"/>
          <ac:cxnSpMkLst>
            <pc:docMk/>
            <pc:sldMk cId="3736628029" sldId="679"/>
            <ac:cxnSpMk id="20" creationId="{427F99BA-7FEE-4CC6-8E23-0F4E7BE97A0F}"/>
          </ac:cxnSpMkLst>
        </pc:cxnChg>
        <pc:cxnChg chg="add mod">
          <ac:chgData name="Sam Mesel" userId="1ee7badb-5d1f-4872-89ae-dcf7b71f276a" providerId="ADAL" clId="{53886FC4-CEC3-49C2-A16F-E052A3E85A45}" dt="2020-03-19T15:45:15.969" v="5439" actId="208"/>
          <ac:cxnSpMkLst>
            <pc:docMk/>
            <pc:sldMk cId="3736628029" sldId="679"/>
            <ac:cxnSpMk id="21" creationId="{6DF6837F-67EB-44B3-A7C3-91D83F172F88}"/>
          </ac:cxnSpMkLst>
        </pc:cxnChg>
        <pc:cxnChg chg="add mod">
          <ac:chgData name="Sam Mesel" userId="1ee7badb-5d1f-4872-89ae-dcf7b71f276a" providerId="ADAL" clId="{53886FC4-CEC3-49C2-A16F-E052A3E85A45}" dt="2020-03-19T15:44:53.867" v="5433" actId="208"/>
          <ac:cxnSpMkLst>
            <pc:docMk/>
            <pc:sldMk cId="3736628029" sldId="679"/>
            <ac:cxnSpMk id="31" creationId="{162D83F1-79EA-44D7-8E2C-5C777C8ED1E9}"/>
          </ac:cxnSpMkLst>
        </pc:cxnChg>
        <pc:cxnChg chg="add mod">
          <ac:chgData name="Sam Mesel" userId="1ee7badb-5d1f-4872-89ae-dcf7b71f276a" providerId="ADAL" clId="{53886FC4-CEC3-49C2-A16F-E052A3E85A45}" dt="2020-03-19T15:44:59.761" v="5434" actId="208"/>
          <ac:cxnSpMkLst>
            <pc:docMk/>
            <pc:sldMk cId="3736628029" sldId="679"/>
            <ac:cxnSpMk id="32" creationId="{48554B5A-07BB-4402-8E9A-66BC0F107C5D}"/>
          </ac:cxnSpMkLst>
        </pc:cxnChg>
        <pc:cxnChg chg="add mod">
          <ac:chgData name="Sam Mesel" userId="1ee7badb-5d1f-4872-89ae-dcf7b71f276a" providerId="ADAL" clId="{53886FC4-CEC3-49C2-A16F-E052A3E85A45}" dt="2020-03-19T15:45:10.286" v="5437" actId="208"/>
          <ac:cxnSpMkLst>
            <pc:docMk/>
            <pc:sldMk cId="3736628029" sldId="679"/>
            <ac:cxnSpMk id="49" creationId="{1BF2B102-EBCA-4CB3-B98B-8559B3539526}"/>
          </ac:cxnSpMkLst>
        </pc:cxnChg>
        <pc:cxnChg chg="add mod">
          <ac:chgData name="Sam Mesel" userId="1ee7badb-5d1f-4872-89ae-dcf7b71f276a" providerId="ADAL" clId="{53886FC4-CEC3-49C2-A16F-E052A3E85A45}" dt="2020-03-19T15:45:11.672" v="5438" actId="208"/>
          <ac:cxnSpMkLst>
            <pc:docMk/>
            <pc:sldMk cId="3736628029" sldId="679"/>
            <ac:cxnSpMk id="50" creationId="{96F6B9F4-E9E4-44A4-9F4B-2CE83B6C1DC7}"/>
          </ac:cxnSpMkLst>
        </pc:cxnChg>
        <pc:cxnChg chg="add mod">
          <ac:chgData name="Sam Mesel" userId="1ee7badb-5d1f-4872-89ae-dcf7b71f276a" providerId="ADAL" clId="{53886FC4-CEC3-49C2-A16F-E052A3E85A45}" dt="2020-03-19T15:45:26.003" v="5440" actId="208"/>
          <ac:cxnSpMkLst>
            <pc:docMk/>
            <pc:sldMk cId="3736628029" sldId="679"/>
            <ac:cxnSpMk id="56" creationId="{7003EF3A-2A81-4BEA-A22F-584237A61985}"/>
          </ac:cxnSpMkLst>
        </pc:cxnChg>
        <pc:cxnChg chg="add">
          <ac:chgData name="Sam Mesel" userId="1ee7badb-5d1f-4872-89ae-dcf7b71f276a" providerId="ADAL" clId="{53886FC4-CEC3-49C2-A16F-E052A3E85A45}" dt="2020-03-11T03:15:53.484" v="3645"/>
          <ac:cxnSpMkLst>
            <pc:docMk/>
            <pc:sldMk cId="3736628029" sldId="679"/>
            <ac:cxnSpMk id="57" creationId="{64674A08-8508-42C8-A131-EF9B8A4B933D}"/>
          </ac:cxnSpMkLst>
        </pc:cxnChg>
        <pc:cxnChg chg="add mod">
          <ac:chgData name="Sam Mesel" userId="1ee7badb-5d1f-4872-89ae-dcf7b71f276a" providerId="ADAL" clId="{53886FC4-CEC3-49C2-A16F-E052A3E85A45}" dt="2020-03-19T15:45:28.891" v="5441" actId="208"/>
          <ac:cxnSpMkLst>
            <pc:docMk/>
            <pc:sldMk cId="3736628029" sldId="679"/>
            <ac:cxnSpMk id="58" creationId="{BEC62FF0-07C1-404E-9481-19005141DDD4}"/>
          </ac:cxnSpMkLst>
        </pc:cxnChg>
        <pc:cxnChg chg="add mod">
          <ac:chgData name="Sam Mesel" userId="1ee7badb-5d1f-4872-89ae-dcf7b71f276a" providerId="ADAL" clId="{53886FC4-CEC3-49C2-A16F-E052A3E85A45}" dt="2020-03-19T15:45:31.644" v="5442" actId="208"/>
          <ac:cxnSpMkLst>
            <pc:docMk/>
            <pc:sldMk cId="3736628029" sldId="679"/>
            <ac:cxnSpMk id="59" creationId="{E2642FCD-A067-4B54-B9D6-7FF6D0E95CBB}"/>
          </ac:cxnSpMkLst>
        </pc:cxnChg>
        <pc:cxnChg chg="add mod">
          <ac:chgData name="Sam Mesel" userId="1ee7badb-5d1f-4872-89ae-dcf7b71f276a" providerId="ADAL" clId="{53886FC4-CEC3-49C2-A16F-E052A3E85A45}" dt="2020-03-19T15:45:06.643" v="5436" actId="208"/>
          <ac:cxnSpMkLst>
            <pc:docMk/>
            <pc:sldMk cId="3736628029" sldId="679"/>
            <ac:cxnSpMk id="60" creationId="{9C63A1B7-CA24-4D04-8E44-5A9F9C94974C}"/>
          </ac:cxnSpMkLst>
        </pc:cxnChg>
        <pc:cxnChg chg="add mod">
          <ac:chgData name="Sam Mesel" userId="1ee7badb-5d1f-4872-89ae-dcf7b71f276a" providerId="ADAL" clId="{53886FC4-CEC3-49C2-A16F-E052A3E85A45}" dt="2020-03-19T15:45:33.932" v="5443" actId="208"/>
          <ac:cxnSpMkLst>
            <pc:docMk/>
            <pc:sldMk cId="3736628029" sldId="679"/>
            <ac:cxnSpMk id="75" creationId="{061806F9-E485-4210-91E2-E8F7F429563A}"/>
          </ac:cxnSpMkLst>
        </pc:cxnChg>
      </pc:sldChg>
      <pc:sldChg chg="modSp add mod modNotesTx">
        <pc:chgData name="Sam Mesel" userId="1ee7badb-5d1f-4872-89ae-dcf7b71f276a" providerId="ADAL" clId="{53886FC4-CEC3-49C2-A16F-E052A3E85A45}" dt="2020-03-19T17:28:12.561" v="7614" actId="20577"/>
        <pc:sldMkLst>
          <pc:docMk/>
          <pc:sldMk cId="3179011032" sldId="680"/>
        </pc:sldMkLst>
        <pc:spChg chg="mod">
          <ac:chgData name="Sam Mesel" userId="1ee7badb-5d1f-4872-89ae-dcf7b71f276a" providerId="ADAL" clId="{53886FC4-CEC3-49C2-A16F-E052A3E85A45}" dt="2020-03-19T17:27:46.941" v="7597" actId="6549"/>
          <ac:spMkLst>
            <pc:docMk/>
            <pc:sldMk cId="3179011032" sldId="680"/>
            <ac:spMk id="6" creationId="{637E159C-9ACF-48AE-927A-D5FB13695C7F}"/>
          </ac:spMkLst>
        </pc:spChg>
      </pc:sldChg>
      <pc:sldChg chg="addSp delSp modSp add mod ord delAnim modAnim modNotesTx">
        <pc:chgData name="Sam Mesel" userId="1ee7badb-5d1f-4872-89ae-dcf7b71f276a" providerId="ADAL" clId="{53886FC4-CEC3-49C2-A16F-E052A3E85A45}" dt="2020-03-19T16:44:31.304" v="6899" actId="14100"/>
        <pc:sldMkLst>
          <pc:docMk/>
          <pc:sldMk cId="3478126155" sldId="681"/>
        </pc:sldMkLst>
        <pc:spChg chg="mod">
          <ac:chgData name="Sam Mesel" userId="1ee7badb-5d1f-4872-89ae-dcf7b71f276a" providerId="ADAL" clId="{53886FC4-CEC3-49C2-A16F-E052A3E85A45}" dt="2020-03-11T23:38:42.230" v="4129" actId="21"/>
          <ac:spMkLst>
            <pc:docMk/>
            <pc:sldMk cId="3478126155" sldId="681"/>
            <ac:spMk id="2" creationId="{EB67312A-9819-43C6-8D84-D9136E6CFFCC}"/>
          </ac:spMkLst>
        </pc:spChg>
        <pc:spChg chg="mod">
          <ac:chgData name="Sam Mesel" userId="1ee7badb-5d1f-4872-89ae-dcf7b71f276a" providerId="ADAL" clId="{53886FC4-CEC3-49C2-A16F-E052A3E85A45}" dt="2020-03-19T16:37:23.623" v="6801" actId="20577"/>
          <ac:spMkLst>
            <pc:docMk/>
            <pc:sldMk cId="3478126155" sldId="681"/>
            <ac:spMk id="3" creationId="{F35E8CBB-5A7D-4DEF-BAF7-8DD5D042F9E0}"/>
          </ac:spMkLst>
        </pc:spChg>
        <pc:spChg chg="del mod">
          <ac:chgData name="Sam Mesel" userId="1ee7badb-5d1f-4872-89ae-dcf7b71f276a" providerId="ADAL" clId="{53886FC4-CEC3-49C2-A16F-E052A3E85A45}" dt="2020-03-19T16:37:29.555" v="6802" actId="478"/>
          <ac:spMkLst>
            <pc:docMk/>
            <pc:sldMk cId="3478126155" sldId="681"/>
            <ac:spMk id="4" creationId="{F3616A99-090F-45E1-9334-58D58B148205}"/>
          </ac:spMkLst>
        </pc:spChg>
        <pc:spChg chg="add del mod">
          <ac:chgData name="Sam Mesel" userId="1ee7badb-5d1f-4872-89ae-dcf7b71f276a" providerId="ADAL" clId="{53886FC4-CEC3-49C2-A16F-E052A3E85A45}" dt="2020-03-19T16:37:32.144" v="6803" actId="478"/>
          <ac:spMkLst>
            <pc:docMk/>
            <pc:sldMk cId="3478126155" sldId="681"/>
            <ac:spMk id="6" creationId="{1A97E306-1DE9-4606-B1F3-38EE6747FE81}"/>
          </ac:spMkLst>
        </pc:spChg>
        <pc:spChg chg="add del mod">
          <ac:chgData name="Sam Mesel" userId="1ee7badb-5d1f-4872-89ae-dcf7b71f276a" providerId="ADAL" clId="{53886FC4-CEC3-49C2-A16F-E052A3E85A45}" dt="2020-03-11T23:40:20.755" v="4141" actId="478"/>
          <ac:spMkLst>
            <pc:docMk/>
            <pc:sldMk cId="3478126155" sldId="681"/>
            <ac:spMk id="7" creationId="{09FA5BAE-E213-4C51-99CB-8F2D82AA0F37}"/>
          </ac:spMkLst>
        </pc:spChg>
        <pc:spChg chg="add mod">
          <ac:chgData name="Sam Mesel" userId="1ee7badb-5d1f-4872-89ae-dcf7b71f276a" providerId="ADAL" clId="{53886FC4-CEC3-49C2-A16F-E052A3E85A45}" dt="2020-03-19T16:39:08.558" v="6807" actId="6549"/>
          <ac:spMkLst>
            <pc:docMk/>
            <pc:sldMk cId="3478126155" sldId="681"/>
            <ac:spMk id="12" creationId="{937A596A-4DB9-41DC-A815-80CF009972D6}"/>
          </ac:spMkLst>
        </pc:spChg>
        <pc:spChg chg="add mod">
          <ac:chgData name="Sam Mesel" userId="1ee7badb-5d1f-4872-89ae-dcf7b71f276a" providerId="ADAL" clId="{53886FC4-CEC3-49C2-A16F-E052A3E85A45}" dt="2020-03-19T16:44:31.304" v="6899" actId="14100"/>
          <ac:spMkLst>
            <pc:docMk/>
            <pc:sldMk cId="3478126155" sldId="681"/>
            <ac:spMk id="13" creationId="{8460F7CC-1C4E-4F5E-B06C-7BD4D7AB1400}"/>
          </ac:spMkLst>
        </pc:spChg>
        <pc:graphicFrameChg chg="del mod">
          <ac:chgData name="Sam Mesel" userId="1ee7badb-5d1f-4872-89ae-dcf7b71f276a" providerId="ADAL" clId="{53886FC4-CEC3-49C2-A16F-E052A3E85A45}" dt="2020-03-11T23:39:17.815" v="4132" actId="478"/>
          <ac:graphicFrameMkLst>
            <pc:docMk/>
            <pc:sldMk cId="3478126155" sldId="681"/>
            <ac:graphicFrameMk id="6" creationId="{ECD4F830-3F57-4416-97C9-3E857291381E}"/>
          </ac:graphicFrameMkLst>
        </pc:graphicFrameChg>
        <pc:picChg chg="add del mod">
          <ac:chgData name="Sam Mesel" userId="1ee7badb-5d1f-4872-89ae-dcf7b71f276a" providerId="ADAL" clId="{53886FC4-CEC3-49C2-A16F-E052A3E85A45}" dt="2020-03-19T15:55:54.827" v="5476" actId="478"/>
          <ac:picMkLst>
            <pc:docMk/>
            <pc:sldMk cId="3478126155" sldId="681"/>
            <ac:picMk id="8" creationId="{CA17CF02-C4D1-4F45-A971-6277FA5FAAEA}"/>
          </ac:picMkLst>
        </pc:picChg>
        <pc:picChg chg="add del mod">
          <ac:chgData name="Sam Mesel" userId="1ee7badb-5d1f-4872-89ae-dcf7b71f276a" providerId="ADAL" clId="{53886FC4-CEC3-49C2-A16F-E052A3E85A45}" dt="2020-03-19T15:55:53.760" v="5475" actId="478"/>
          <ac:picMkLst>
            <pc:docMk/>
            <pc:sldMk cId="3478126155" sldId="681"/>
            <ac:picMk id="9" creationId="{18683C53-2448-4694-9CAD-BC92FAD0FCB2}"/>
          </ac:picMkLst>
        </pc:picChg>
        <pc:picChg chg="add del mod">
          <ac:chgData name="Sam Mesel" userId="1ee7badb-5d1f-4872-89ae-dcf7b71f276a" providerId="ADAL" clId="{53886FC4-CEC3-49C2-A16F-E052A3E85A45}" dt="2020-03-19T15:55:52.858" v="5474" actId="478"/>
          <ac:picMkLst>
            <pc:docMk/>
            <pc:sldMk cId="3478126155" sldId="681"/>
            <ac:picMk id="10" creationId="{15E1F92C-8A4F-4EFF-BA0F-AF20ECDF9FE5}"/>
          </ac:picMkLst>
        </pc:picChg>
        <pc:picChg chg="add del mod">
          <ac:chgData name="Sam Mesel" userId="1ee7badb-5d1f-4872-89ae-dcf7b71f276a" providerId="ADAL" clId="{53886FC4-CEC3-49C2-A16F-E052A3E85A45}" dt="2020-03-19T15:55:49.923" v="5473" actId="478"/>
          <ac:picMkLst>
            <pc:docMk/>
            <pc:sldMk cId="3478126155" sldId="681"/>
            <ac:picMk id="11" creationId="{04C12883-2F02-40DD-BBB4-21E766C8DC9B}"/>
          </ac:picMkLst>
        </pc:picChg>
      </pc:sldChg>
      <pc:sldChg chg="modSp add mod modNotesTx">
        <pc:chgData name="Sam Mesel" userId="1ee7badb-5d1f-4872-89ae-dcf7b71f276a" providerId="ADAL" clId="{53886FC4-CEC3-49C2-A16F-E052A3E85A45}" dt="2020-03-20T00:36:52.984" v="13069" actId="6549"/>
        <pc:sldMkLst>
          <pc:docMk/>
          <pc:sldMk cId="936353458" sldId="682"/>
        </pc:sldMkLst>
        <pc:spChg chg="mod">
          <ac:chgData name="Sam Mesel" userId="1ee7badb-5d1f-4872-89ae-dcf7b71f276a" providerId="ADAL" clId="{53886FC4-CEC3-49C2-A16F-E052A3E85A45}" dt="2020-03-20T00:36:34.328" v="13065" actId="6549"/>
          <ac:spMkLst>
            <pc:docMk/>
            <pc:sldMk cId="936353458" sldId="682"/>
            <ac:spMk id="6" creationId="{637E159C-9ACF-48AE-927A-D5FB13695C7F}"/>
          </ac:spMkLst>
        </pc:spChg>
      </pc:sldChg>
      <pc:sldChg chg="addSp delSp modSp new del mod modShow chgLayout">
        <pc:chgData name="Sam Mesel" userId="1ee7badb-5d1f-4872-89ae-dcf7b71f276a" providerId="ADAL" clId="{53886FC4-CEC3-49C2-A16F-E052A3E85A45}" dt="2020-03-20T00:35:45.774" v="13042" actId="47"/>
        <pc:sldMkLst>
          <pc:docMk/>
          <pc:sldMk cId="4176087182" sldId="683"/>
        </pc:sldMkLst>
        <pc:spChg chg="del mod ord">
          <ac:chgData name="Sam Mesel" userId="1ee7badb-5d1f-4872-89ae-dcf7b71f276a" providerId="ADAL" clId="{53886FC4-CEC3-49C2-A16F-E052A3E85A45}" dt="2020-03-12T01:35:46.272" v="4358" actId="700"/>
          <ac:spMkLst>
            <pc:docMk/>
            <pc:sldMk cId="4176087182" sldId="683"/>
            <ac:spMk id="2" creationId="{04B31188-C5C0-479E-91AF-34D0F9E2F036}"/>
          </ac:spMkLst>
        </pc:spChg>
        <pc:spChg chg="del mod ord">
          <ac:chgData name="Sam Mesel" userId="1ee7badb-5d1f-4872-89ae-dcf7b71f276a" providerId="ADAL" clId="{53886FC4-CEC3-49C2-A16F-E052A3E85A45}" dt="2020-03-12T01:35:46.272" v="4358" actId="700"/>
          <ac:spMkLst>
            <pc:docMk/>
            <pc:sldMk cId="4176087182" sldId="683"/>
            <ac:spMk id="3" creationId="{AB9284B6-EDA6-4E58-91D9-E87A9F6021CB}"/>
          </ac:spMkLst>
        </pc:spChg>
        <pc:spChg chg="del">
          <ac:chgData name="Sam Mesel" userId="1ee7badb-5d1f-4872-89ae-dcf7b71f276a" providerId="ADAL" clId="{53886FC4-CEC3-49C2-A16F-E052A3E85A45}" dt="2020-03-12T01:35:46.272" v="4358" actId="700"/>
          <ac:spMkLst>
            <pc:docMk/>
            <pc:sldMk cId="4176087182" sldId="683"/>
            <ac:spMk id="4" creationId="{FF03AB63-3C33-40C3-A503-6281CC6B40ED}"/>
          </ac:spMkLst>
        </pc:spChg>
        <pc:spChg chg="add mod ord">
          <ac:chgData name="Sam Mesel" userId="1ee7badb-5d1f-4872-89ae-dcf7b71f276a" providerId="ADAL" clId="{53886FC4-CEC3-49C2-A16F-E052A3E85A45}" dt="2020-03-12T01:37:13.756" v="4444" actId="20577"/>
          <ac:spMkLst>
            <pc:docMk/>
            <pc:sldMk cId="4176087182" sldId="683"/>
            <ac:spMk id="5" creationId="{BFEBC72E-76AD-445C-A71B-54B0C4EA0865}"/>
          </ac:spMkLst>
        </pc:spChg>
        <pc:spChg chg="add mod ord">
          <ac:chgData name="Sam Mesel" userId="1ee7badb-5d1f-4872-89ae-dcf7b71f276a" providerId="ADAL" clId="{53886FC4-CEC3-49C2-A16F-E052A3E85A45}" dt="2020-03-12T01:35:46.272" v="4358" actId="700"/>
          <ac:spMkLst>
            <pc:docMk/>
            <pc:sldMk cId="4176087182" sldId="683"/>
            <ac:spMk id="6" creationId="{C61BFD0A-1488-4058-943B-2DE5B7C19A5D}"/>
          </ac:spMkLst>
        </pc:spChg>
        <pc:spChg chg="add del mod ord">
          <ac:chgData name="Sam Mesel" userId="1ee7badb-5d1f-4872-89ae-dcf7b71f276a" providerId="ADAL" clId="{53886FC4-CEC3-49C2-A16F-E052A3E85A45}" dt="2020-03-19T15:30:20.311" v="5348" actId="478"/>
          <ac:spMkLst>
            <pc:docMk/>
            <pc:sldMk cId="4176087182" sldId="683"/>
            <ac:spMk id="7" creationId="{E178DCE5-B796-4851-AFB1-8FC8B60E8EC6}"/>
          </ac:spMkLst>
        </pc:spChg>
        <pc:picChg chg="add">
          <ac:chgData name="Sam Mesel" userId="1ee7badb-5d1f-4872-89ae-dcf7b71f276a" providerId="ADAL" clId="{53886FC4-CEC3-49C2-A16F-E052A3E85A45}" dt="2020-03-12T01:37:00.991" v="4442"/>
          <ac:picMkLst>
            <pc:docMk/>
            <pc:sldMk cId="4176087182" sldId="683"/>
            <ac:picMk id="8" creationId="{15C8A426-F987-4327-8FD5-E47FFCA1587B}"/>
          </ac:picMkLst>
        </pc:picChg>
      </pc:sldChg>
      <pc:sldChg chg="addSp delSp modSp new del mod modShow chgLayout">
        <pc:chgData name="Sam Mesel" userId="1ee7badb-5d1f-4872-89ae-dcf7b71f276a" providerId="ADAL" clId="{53886FC4-CEC3-49C2-A16F-E052A3E85A45}" dt="2020-03-20T00:35:44.562" v="13041" actId="47"/>
        <pc:sldMkLst>
          <pc:docMk/>
          <pc:sldMk cId="2614279862" sldId="684"/>
        </pc:sldMkLst>
        <pc:spChg chg="del mod ord">
          <ac:chgData name="Sam Mesel" userId="1ee7badb-5d1f-4872-89ae-dcf7b71f276a" providerId="ADAL" clId="{53886FC4-CEC3-49C2-A16F-E052A3E85A45}" dt="2020-03-12T01:37:26.349" v="4446" actId="700"/>
          <ac:spMkLst>
            <pc:docMk/>
            <pc:sldMk cId="2614279862" sldId="684"/>
            <ac:spMk id="2" creationId="{F9FC1E5E-B524-4A5A-BE54-D71590EDEC28}"/>
          </ac:spMkLst>
        </pc:spChg>
        <pc:spChg chg="del mod ord">
          <ac:chgData name="Sam Mesel" userId="1ee7badb-5d1f-4872-89ae-dcf7b71f276a" providerId="ADAL" clId="{53886FC4-CEC3-49C2-A16F-E052A3E85A45}" dt="2020-03-12T01:37:26.349" v="4446" actId="700"/>
          <ac:spMkLst>
            <pc:docMk/>
            <pc:sldMk cId="2614279862" sldId="684"/>
            <ac:spMk id="3" creationId="{EEF27FF0-9DB3-4DCE-B14A-149F598577EF}"/>
          </ac:spMkLst>
        </pc:spChg>
        <pc:spChg chg="del">
          <ac:chgData name="Sam Mesel" userId="1ee7badb-5d1f-4872-89ae-dcf7b71f276a" providerId="ADAL" clId="{53886FC4-CEC3-49C2-A16F-E052A3E85A45}" dt="2020-03-12T01:37:26.349" v="4446" actId="700"/>
          <ac:spMkLst>
            <pc:docMk/>
            <pc:sldMk cId="2614279862" sldId="684"/>
            <ac:spMk id="4" creationId="{0537E02C-BDA3-40EA-93A4-50E9260F400F}"/>
          </ac:spMkLst>
        </pc:spChg>
        <pc:spChg chg="add mod ord">
          <ac:chgData name="Sam Mesel" userId="1ee7badb-5d1f-4872-89ae-dcf7b71f276a" providerId="ADAL" clId="{53886FC4-CEC3-49C2-A16F-E052A3E85A45}" dt="2020-03-12T01:37:37.828" v="4503" actId="20577"/>
          <ac:spMkLst>
            <pc:docMk/>
            <pc:sldMk cId="2614279862" sldId="684"/>
            <ac:spMk id="5" creationId="{5D1E31E6-7AFC-47D7-8AC1-E4C1FF8C9BA0}"/>
          </ac:spMkLst>
        </pc:spChg>
        <pc:spChg chg="add mod ord">
          <ac:chgData name="Sam Mesel" userId="1ee7badb-5d1f-4872-89ae-dcf7b71f276a" providerId="ADAL" clId="{53886FC4-CEC3-49C2-A16F-E052A3E85A45}" dt="2020-03-12T01:37:26.349" v="4446" actId="700"/>
          <ac:spMkLst>
            <pc:docMk/>
            <pc:sldMk cId="2614279862" sldId="684"/>
            <ac:spMk id="6" creationId="{E26C29AB-D9B6-46EC-A02B-57AF8690AF8C}"/>
          </ac:spMkLst>
        </pc:spChg>
        <pc:spChg chg="add del mod ord">
          <ac:chgData name="Sam Mesel" userId="1ee7badb-5d1f-4872-89ae-dcf7b71f276a" providerId="ADAL" clId="{53886FC4-CEC3-49C2-A16F-E052A3E85A45}" dt="2020-03-19T15:30:11.981" v="5347" actId="478"/>
          <ac:spMkLst>
            <pc:docMk/>
            <pc:sldMk cId="2614279862" sldId="684"/>
            <ac:spMk id="7" creationId="{5893207E-BE9A-4666-87DA-113F0346779E}"/>
          </ac:spMkLst>
        </pc:spChg>
        <pc:picChg chg="add">
          <ac:chgData name="Sam Mesel" userId="1ee7badb-5d1f-4872-89ae-dcf7b71f276a" providerId="ADAL" clId="{53886FC4-CEC3-49C2-A16F-E052A3E85A45}" dt="2020-03-12T01:39:25.245" v="4505"/>
          <ac:picMkLst>
            <pc:docMk/>
            <pc:sldMk cId="2614279862" sldId="684"/>
            <ac:picMk id="8" creationId="{C96F9544-BE47-4632-AB21-222D15323612}"/>
          </ac:picMkLst>
        </pc:picChg>
      </pc:sldChg>
      <pc:sldChg chg="addSp delSp modSp new del mod modShow chgLayout">
        <pc:chgData name="Sam Mesel" userId="1ee7badb-5d1f-4872-89ae-dcf7b71f276a" providerId="ADAL" clId="{53886FC4-CEC3-49C2-A16F-E052A3E85A45}" dt="2020-03-20T00:35:53.090" v="13044" actId="47"/>
        <pc:sldMkLst>
          <pc:docMk/>
          <pc:sldMk cId="1475308671" sldId="685"/>
        </pc:sldMkLst>
        <pc:spChg chg="del mod ord">
          <ac:chgData name="Sam Mesel" userId="1ee7badb-5d1f-4872-89ae-dcf7b71f276a" providerId="ADAL" clId="{53886FC4-CEC3-49C2-A16F-E052A3E85A45}" dt="2020-03-12T01:48:12" v="4546" actId="700"/>
          <ac:spMkLst>
            <pc:docMk/>
            <pc:sldMk cId="1475308671" sldId="685"/>
            <ac:spMk id="2" creationId="{5512085A-6728-45F5-BE99-215BB1F801F4}"/>
          </ac:spMkLst>
        </pc:spChg>
        <pc:spChg chg="del mod ord">
          <ac:chgData name="Sam Mesel" userId="1ee7badb-5d1f-4872-89ae-dcf7b71f276a" providerId="ADAL" clId="{53886FC4-CEC3-49C2-A16F-E052A3E85A45}" dt="2020-03-12T01:48:12" v="4546" actId="700"/>
          <ac:spMkLst>
            <pc:docMk/>
            <pc:sldMk cId="1475308671" sldId="685"/>
            <ac:spMk id="3" creationId="{65B833A4-212F-41E4-A7DD-64B936EF2B57}"/>
          </ac:spMkLst>
        </pc:spChg>
        <pc:spChg chg="del">
          <ac:chgData name="Sam Mesel" userId="1ee7badb-5d1f-4872-89ae-dcf7b71f276a" providerId="ADAL" clId="{53886FC4-CEC3-49C2-A16F-E052A3E85A45}" dt="2020-03-12T01:48:12" v="4546" actId="700"/>
          <ac:spMkLst>
            <pc:docMk/>
            <pc:sldMk cId="1475308671" sldId="685"/>
            <ac:spMk id="4" creationId="{22CE2BAB-B3E8-4DB5-89CA-6FA4448467AC}"/>
          </ac:spMkLst>
        </pc:spChg>
        <pc:spChg chg="add mod ord">
          <ac:chgData name="Sam Mesel" userId="1ee7badb-5d1f-4872-89ae-dcf7b71f276a" providerId="ADAL" clId="{53886FC4-CEC3-49C2-A16F-E052A3E85A45}" dt="2020-03-12T01:50:04.688" v="4715" actId="20577"/>
          <ac:spMkLst>
            <pc:docMk/>
            <pc:sldMk cId="1475308671" sldId="685"/>
            <ac:spMk id="5" creationId="{C94CA7AA-65F4-4524-A2AB-C62022A716BA}"/>
          </ac:spMkLst>
        </pc:spChg>
        <pc:spChg chg="add mod ord">
          <ac:chgData name="Sam Mesel" userId="1ee7badb-5d1f-4872-89ae-dcf7b71f276a" providerId="ADAL" clId="{53886FC4-CEC3-49C2-A16F-E052A3E85A45}" dt="2020-03-12T01:48:12" v="4546" actId="700"/>
          <ac:spMkLst>
            <pc:docMk/>
            <pc:sldMk cId="1475308671" sldId="685"/>
            <ac:spMk id="6" creationId="{6F6793B5-BDAF-4D3A-8ACC-1EA636366576}"/>
          </ac:spMkLst>
        </pc:spChg>
        <pc:spChg chg="add mod ord">
          <ac:chgData name="Sam Mesel" userId="1ee7badb-5d1f-4872-89ae-dcf7b71f276a" providerId="ADAL" clId="{53886FC4-CEC3-49C2-A16F-E052A3E85A45}" dt="2020-03-12T01:48:12" v="4546" actId="700"/>
          <ac:spMkLst>
            <pc:docMk/>
            <pc:sldMk cId="1475308671" sldId="685"/>
            <ac:spMk id="7" creationId="{91E9D200-2E0E-4449-9BE8-4B60C0C6B152}"/>
          </ac:spMkLst>
        </pc:spChg>
      </pc:sldChg>
      <pc:sldChg chg="addSp modSp add del mod ord">
        <pc:chgData name="Sam Mesel" userId="1ee7badb-5d1f-4872-89ae-dcf7b71f276a" providerId="ADAL" clId="{53886FC4-CEC3-49C2-A16F-E052A3E85A45}" dt="2020-03-20T00:35:51.928" v="13043" actId="47"/>
        <pc:sldMkLst>
          <pc:docMk/>
          <pc:sldMk cId="2363835729" sldId="686"/>
        </pc:sldMkLst>
        <pc:spChg chg="mod">
          <ac:chgData name="Sam Mesel" userId="1ee7badb-5d1f-4872-89ae-dcf7b71f276a" providerId="ADAL" clId="{53886FC4-CEC3-49C2-A16F-E052A3E85A45}" dt="2020-03-12T01:48:32.643" v="4599" actId="20577"/>
          <ac:spMkLst>
            <pc:docMk/>
            <pc:sldMk cId="2363835729" sldId="686"/>
            <ac:spMk id="5" creationId="{C94CA7AA-65F4-4524-A2AB-C62022A716BA}"/>
          </ac:spMkLst>
        </pc:spChg>
        <pc:spChg chg="mod">
          <ac:chgData name="Sam Mesel" userId="1ee7badb-5d1f-4872-89ae-dcf7b71f276a" providerId="ADAL" clId="{53886FC4-CEC3-49C2-A16F-E052A3E85A45}" dt="2020-03-12T01:48:54.572" v="4659"/>
          <ac:spMkLst>
            <pc:docMk/>
            <pc:sldMk cId="2363835729" sldId="686"/>
            <ac:spMk id="7" creationId="{91E9D200-2E0E-4449-9BE8-4B60C0C6B152}"/>
          </ac:spMkLst>
        </pc:spChg>
        <pc:picChg chg="add">
          <ac:chgData name="Sam Mesel" userId="1ee7badb-5d1f-4872-89ae-dcf7b71f276a" providerId="ADAL" clId="{53886FC4-CEC3-49C2-A16F-E052A3E85A45}" dt="2020-03-12T01:49:05.931" v="4660"/>
          <ac:picMkLst>
            <pc:docMk/>
            <pc:sldMk cId="2363835729" sldId="686"/>
            <ac:picMk id="2" creationId="{59E0D0E2-684A-4456-B62C-DBC2953FD0CB}"/>
          </ac:picMkLst>
        </pc:picChg>
      </pc:sldChg>
      <pc:sldChg chg="addSp delSp modSp add del mod modAnim modNotesTx">
        <pc:chgData name="Sam Mesel" userId="1ee7badb-5d1f-4872-89ae-dcf7b71f276a" providerId="ADAL" clId="{53886FC4-CEC3-49C2-A16F-E052A3E85A45}" dt="2020-03-20T00:35:53.993" v="13045" actId="47"/>
        <pc:sldMkLst>
          <pc:docMk/>
          <pc:sldMk cId="3992302424" sldId="687"/>
        </pc:sldMkLst>
        <pc:spChg chg="mod">
          <ac:chgData name="Sam Mesel" userId="1ee7badb-5d1f-4872-89ae-dcf7b71f276a" providerId="ADAL" clId="{53886FC4-CEC3-49C2-A16F-E052A3E85A45}" dt="2020-03-12T02:03:00.011" v="4781" actId="20577"/>
          <ac:spMkLst>
            <pc:docMk/>
            <pc:sldMk cId="3992302424" sldId="687"/>
            <ac:spMk id="5" creationId="{C94CA7AA-65F4-4524-A2AB-C62022A716BA}"/>
          </ac:spMkLst>
        </pc:spChg>
        <pc:spChg chg="del mod">
          <ac:chgData name="Sam Mesel" userId="1ee7badb-5d1f-4872-89ae-dcf7b71f276a" providerId="ADAL" clId="{53886FC4-CEC3-49C2-A16F-E052A3E85A45}" dt="2020-03-12T01:56:00.494" v="4729" actId="478"/>
          <ac:spMkLst>
            <pc:docMk/>
            <pc:sldMk cId="3992302424" sldId="687"/>
            <ac:spMk id="7" creationId="{91E9D200-2E0E-4449-9BE8-4B60C0C6B152}"/>
          </ac:spMkLst>
        </pc:spChg>
        <pc:picChg chg="add mod">
          <ac:chgData name="Sam Mesel" userId="1ee7badb-5d1f-4872-89ae-dcf7b71f276a" providerId="ADAL" clId="{53886FC4-CEC3-49C2-A16F-E052A3E85A45}" dt="2020-03-12T01:56:18.560" v="4732" actId="1076"/>
          <ac:picMkLst>
            <pc:docMk/>
            <pc:sldMk cId="3992302424" sldId="687"/>
            <ac:picMk id="2" creationId="{5D24D701-3718-4579-9336-E562183B5CC5}"/>
          </ac:picMkLst>
        </pc:picChg>
        <pc:picChg chg="add del mod">
          <ac:chgData name="Sam Mesel" userId="1ee7badb-5d1f-4872-89ae-dcf7b71f276a" providerId="ADAL" clId="{53886FC4-CEC3-49C2-A16F-E052A3E85A45}" dt="2020-03-12T01:57:06.687" v="4737" actId="478"/>
          <ac:picMkLst>
            <pc:docMk/>
            <pc:sldMk cId="3992302424" sldId="687"/>
            <ac:picMk id="3" creationId="{1EC58B07-5242-45A1-B529-3DD0E9070794}"/>
          </ac:picMkLst>
        </pc:picChg>
        <pc:picChg chg="add">
          <ac:chgData name="Sam Mesel" userId="1ee7badb-5d1f-4872-89ae-dcf7b71f276a" providerId="ADAL" clId="{53886FC4-CEC3-49C2-A16F-E052A3E85A45}" dt="2020-03-12T01:57:18.692" v="4738"/>
          <ac:picMkLst>
            <pc:docMk/>
            <pc:sldMk cId="3992302424" sldId="687"/>
            <ac:picMk id="4" creationId="{63F709A8-C6EA-4A68-A33E-8193E11D3EE3}"/>
          </ac:picMkLst>
        </pc:picChg>
        <pc:picChg chg="add mod">
          <ac:chgData name="Sam Mesel" userId="1ee7badb-5d1f-4872-89ae-dcf7b71f276a" providerId="ADAL" clId="{53886FC4-CEC3-49C2-A16F-E052A3E85A45}" dt="2020-03-12T01:57:34.899" v="4741" actId="1076"/>
          <ac:picMkLst>
            <pc:docMk/>
            <pc:sldMk cId="3992302424" sldId="687"/>
            <ac:picMk id="8" creationId="{65D2A96F-5176-48A1-A18B-D86B3EFD0E6D}"/>
          </ac:picMkLst>
        </pc:picChg>
        <pc:picChg chg="add">
          <ac:chgData name="Sam Mesel" userId="1ee7badb-5d1f-4872-89ae-dcf7b71f276a" providerId="ADAL" clId="{53886FC4-CEC3-49C2-A16F-E052A3E85A45}" dt="2020-03-12T01:57:48.623" v="4744"/>
          <ac:picMkLst>
            <pc:docMk/>
            <pc:sldMk cId="3992302424" sldId="687"/>
            <ac:picMk id="9" creationId="{F31187AC-075E-4354-9ED0-6FE3F52BAA27}"/>
          </ac:picMkLst>
        </pc:picChg>
      </pc:sldChg>
      <pc:sldChg chg="add del">
        <pc:chgData name="Sam Mesel" userId="1ee7badb-5d1f-4872-89ae-dcf7b71f276a" providerId="ADAL" clId="{53886FC4-CEC3-49C2-A16F-E052A3E85A45}" dt="2020-03-12T01:55:15.850" v="4722" actId="47"/>
        <pc:sldMkLst>
          <pc:docMk/>
          <pc:sldMk cId="1484890430" sldId="688"/>
        </pc:sldMkLst>
      </pc:sldChg>
      <pc:sldChg chg="addSp modSp add del mod modAnim">
        <pc:chgData name="Sam Mesel" userId="1ee7badb-5d1f-4872-89ae-dcf7b71f276a" providerId="ADAL" clId="{53886FC4-CEC3-49C2-A16F-E052A3E85A45}" dt="2020-03-20T00:35:55.092" v="13046" actId="47"/>
        <pc:sldMkLst>
          <pc:docMk/>
          <pc:sldMk cId="2019257066" sldId="688"/>
        </pc:sldMkLst>
        <pc:spChg chg="mod">
          <ac:chgData name="Sam Mesel" userId="1ee7badb-5d1f-4872-89ae-dcf7b71f276a" providerId="ADAL" clId="{53886FC4-CEC3-49C2-A16F-E052A3E85A45}" dt="2020-03-12T02:03:31.319" v="4831" actId="20577"/>
          <ac:spMkLst>
            <pc:docMk/>
            <pc:sldMk cId="2019257066" sldId="688"/>
            <ac:spMk id="5" creationId="{C94CA7AA-65F4-4524-A2AB-C62022A716BA}"/>
          </ac:spMkLst>
        </pc:spChg>
        <pc:picChg chg="add mod modCrop">
          <ac:chgData name="Sam Mesel" userId="1ee7badb-5d1f-4872-89ae-dcf7b71f276a" providerId="ADAL" clId="{53886FC4-CEC3-49C2-A16F-E052A3E85A45}" dt="2020-03-12T02:06:07.190" v="4854" actId="732"/>
          <ac:picMkLst>
            <pc:docMk/>
            <pc:sldMk cId="2019257066" sldId="688"/>
            <ac:picMk id="2" creationId="{B953C1AE-9360-4508-BC57-7A6F2022412A}"/>
          </ac:picMkLst>
        </pc:picChg>
        <pc:picChg chg="add">
          <ac:chgData name="Sam Mesel" userId="1ee7badb-5d1f-4872-89ae-dcf7b71f276a" providerId="ADAL" clId="{53886FC4-CEC3-49C2-A16F-E052A3E85A45}" dt="2020-03-12T02:04:13.700" v="4837"/>
          <ac:picMkLst>
            <pc:docMk/>
            <pc:sldMk cId="2019257066" sldId="688"/>
            <ac:picMk id="3" creationId="{6E5B8D2E-441C-47D3-939E-BA21B4A7DE54}"/>
          </ac:picMkLst>
        </pc:picChg>
        <pc:picChg chg="add">
          <ac:chgData name="Sam Mesel" userId="1ee7badb-5d1f-4872-89ae-dcf7b71f276a" providerId="ADAL" clId="{53886FC4-CEC3-49C2-A16F-E052A3E85A45}" dt="2020-03-12T02:05:10.798" v="4848"/>
          <ac:picMkLst>
            <pc:docMk/>
            <pc:sldMk cId="2019257066" sldId="688"/>
            <ac:picMk id="4" creationId="{C4EB7B4E-7D45-45B9-B7BF-05F0FF12FBE4}"/>
          </ac:picMkLst>
        </pc:picChg>
        <pc:picChg chg="add mod modCrop">
          <ac:chgData name="Sam Mesel" userId="1ee7badb-5d1f-4872-89ae-dcf7b71f276a" providerId="ADAL" clId="{53886FC4-CEC3-49C2-A16F-E052A3E85A45}" dt="2020-03-12T02:06:28.671" v="4859" actId="1076"/>
          <ac:picMkLst>
            <pc:docMk/>
            <pc:sldMk cId="2019257066" sldId="688"/>
            <ac:picMk id="8" creationId="{57D54B64-A64C-479E-98E5-9585FB153A44}"/>
          </ac:picMkLst>
        </pc:picChg>
        <pc:picChg chg="add">
          <ac:chgData name="Sam Mesel" userId="1ee7badb-5d1f-4872-89ae-dcf7b71f276a" providerId="ADAL" clId="{53886FC4-CEC3-49C2-A16F-E052A3E85A45}" dt="2020-03-12T02:06:45.724" v="4860"/>
          <ac:picMkLst>
            <pc:docMk/>
            <pc:sldMk cId="2019257066" sldId="688"/>
            <ac:picMk id="9" creationId="{365ABB2D-D1BE-4ADC-A033-6AA13D6E9606}"/>
          </ac:picMkLst>
        </pc:picChg>
        <pc:picChg chg="add">
          <ac:chgData name="Sam Mesel" userId="1ee7badb-5d1f-4872-89ae-dcf7b71f276a" providerId="ADAL" clId="{53886FC4-CEC3-49C2-A16F-E052A3E85A45}" dt="2020-03-12T02:07:05.033" v="4863"/>
          <ac:picMkLst>
            <pc:docMk/>
            <pc:sldMk cId="2019257066" sldId="688"/>
            <ac:picMk id="10" creationId="{B37648F8-5285-4165-82DF-80113C02166B}"/>
          </ac:picMkLst>
        </pc:picChg>
        <pc:picChg chg="add mod modCrop">
          <ac:chgData name="Sam Mesel" userId="1ee7badb-5d1f-4872-89ae-dcf7b71f276a" providerId="ADAL" clId="{53886FC4-CEC3-49C2-A16F-E052A3E85A45}" dt="2020-03-12T02:07:45.341" v="4870" actId="1076"/>
          <ac:picMkLst>
            <pc:docMk/>
            <pc:sldMk cId="2019257066" sldId="688"/>
            <ac:picMk id="11" creationId="{9DDF0688-87BB-4FB5-BE7C-CE80004153E6}"/>
          </ac:picMkLst>
        </pc:picChg>
        <pc:picChg chg="add">
          <ac:chgData name="Sam Mesel" userId="1ee7badb-5d1f-4872-89ae-dcf7b71f276a" providerId="ADAL" clId="{53886FC4-CEC3-49C2-A16F-E052A3E85A45}" dt="2020-03-12T02:08:01.910" v="4871"/>
          <ac:picMkLst>
            <pc:docMk/>
            <pc:sldMk cId="2019257066" sldId="688"/>
            <ac:picMk id="12" creationId="{10167A29-FCFF-4A15-BAD5-20C08AD6E2CB}"/>
          </ac:picMkLst>
        </pc:picChg>
        <pc:picChg chg="add">
          <ac:chgData name="Sam Mesel" userId="1ee7badb-5d1f-4872-89ae-dcf7b71f276a" providerId="ADAL" clId="{53886FC4-CEC3-49C2-A16F-E052A3E85A45}" dt="2020-03-12T02:08:18.711" v="4874"/>
          <ac:picMkLst>
            <pc:docMk/>
            <pc:sldMk cId="2019257066" sldId="688"/>
            <ac:picMk id="13" creationId="{FB75B2A4-8637-4E7E-94AF-5E3D2374F550}"/>
          </ac:picMkLst>
        </pc:picChg>
      </pc:sldChg>
      <pc:sldChg chg="add del">
        <pc:chgData name="Sam Mesel" userId="1ee7badb-5d1f-4872-89ae-dcf7b71f276a" providerId="ADAL" clId="{53886FC4-CEC3-49C2-A16F-E052A3E85A45}" dt="2020-03-12T01:55:16.467" v="4723" actId="47"/>
        <pc:sldMkLst>
          <pc:docMk/>
          <pc:sldMk cId="1726538708" sldId="689"/>
        </pc:sldMkLst>
      </pc:sldChg>
      <pc:sldChg chg="addSp modSp add del mod modAnim">
        <pc:chgData name="Sam Mesel" userId="1ee7badb-5d1f-4872-89ae-dcf7b71f276a" providerId="ADAL" clId="{53886FC4-CEC3-49C2-A16F-E052A3E85A45}" dt="2020-03-20T00:35:56.735" v="13047" actId="47"/>
        <pc:sldMkLst>
          <pc:docMk/>
          <pc:sldMk cId="2097593397" sldId="689"/>
        </pc:sldMkLst>
        <pc:spChg chg="mod">
          <ac:chgData name="Sam Mesel" userId="1ee7badb-5d1f-4872-89ae-dcf7b71f276a" providerId="ADAL" clId="{53886FC4-CEC3-49C2-A16F-E052A3E85A45}" dt="2020-03-12T02:08:47.832" v="4892" actId="20577"/>
          <ac:spMkLst>
            <pc:docMk/>
            <pc:sldMk cId="2097593397" sldId="689"/>
            <ac:spMk id="5" creationId="{C94CA7AA-65F4-4524-A2AB-C62022A716BA}"/>
          </ac:spMkLst>
        </pc:spChg>
        <pc:picChg chg="add">
          <ac:chgData name="Sam Mesel" userId="1ee7badb-5d1f-4872-89ae-dcf7b71f276a" providerId="ADAL" clId="{53886FC4-CEC3-49C2-A16F-E052A3E85A45}" dt="2020-03-12T02:08:57.930" v="4893"/>
          <ac:picMkLst>
            <pc:docMk/>
            <pc:sldMk cId="2097593397" sldId="689"/>
            <ac:picMk id="2" creationId="{13659490-9F9D-4EE3-8D1E-4BDF2A0DE4BA}"/>
          </ac:picMkLst>
        </pc:picChg>
        <pc:picChg chg="add">
          <ac:chgData name="Sam Mesel" userId="1ee7badb-5d1f-4872-89ae-dcf7b71f276a" providerId="ADAL" clId="{53886FC4-CEC3-49C2-A16F-E052A3E85A45}" dt="2020-03-12T02:09:14.268" v="4895"/>
          <ac:picMkLst>
            <pc:docMk/>
            <pc:sldMk cId="2097593397" sldId="689"/>
            <ac:picMk id="3" creationId="{B8904E6E-446A-4D6B-8499-650C62D97E04}"/>
          </ac:picMkLst>
        </pc:picChg>
        <pc:picChg chg="add">
          <ac:chgData name="Sam Mesel" userId="1ee7badb-5d1f-4872-89ae-dcf7b71f276a" providerId="ADAL" clId="{53886FC4-CEC3-49C2-A16F-E052A3E85A45}" dt="2020-03-12T02:09:31.646" v="4898"/>
          <ac:picMkLst>
            <pc:docMk/>
            <pc:sldMk cId="2097593397" sldId="689"/>
            <ac:picMk id="4" creationId="{F6FB0228-CB68-4701-8B2B-4FADE2FE1D7A}"/>
          </ac:picMkLst>
        </pc:picChg>
      </pc:sldChg>
      <pc:sldChg chg="add del">
        <pc:chgData name="Sam Mesel" userId="1ee7badb-5d1f-4872-89ae-dcf7b71f276a" providerId="ADAL" clId="{53886FC4-CEC3-49C2-A16F-E052A3E85A45}" dt="2020-03-12T01:55:17.159" v="4724" actId="47"/>
        <pc:sldMkLst>
          <pc:docMk/>
          <pc:sldMk cId="2992124910" sldId="690"/>
        </pc:sldMkLst>
      </pc:sldChg>
      <pc:sldChg chg="addSp delSp modSp add del mod modAnim">
        <pc:chgData name="Sam Mesel" userId="1ee7badb-5d1f-4872-89ae-dcf7b71f276a" providerId="ADAL" clId="{53886FC4-CEC3-49C2-A16F-E052A3E85A45}" dt="2020-03-20T00:35:57.655" v="13048" actId="47"/>
        <pc:sldMkLst>
          <pc:docMk/>
          <pc:sldMk cId="4198188068" sldId="690"/>
        </pc:sldMkLst>
        <pc:spChg chg="mod">
          <ac:chgData name="Sam Mesel" userId="1ee7badb-5d1f-4872-89ae-dcf7b71f276a" providerId="ADAL" clId="{53886FC4-CEC3-49C2-A16F-E052A3E85A45}" dt="2020-03-12T02:10:05.981" v="4949" actId="20577"/>
          <ac:spMkLst>
            <pc:docMk/>
            <pc:sldMk cId="4198188068" sldId="690"/>
            <ac:spMk id="5" creationId="{C94CA7AA-65F4-4524-A2AB-C62022A716BA}"/>
          </ac:spMkLst>
        </pc:spChg>
        <pc:picChg chg="add del">
          <ac:chgData name="Sam Mesel" userId="1ee7badb-5d1f-4872-89ae-dcf7b71f276a" providerId="ADAL" clId="{53886FC4-CEC3-49C2-A16F-E052A3E85A45}" dt="2020-03-12T02:10:43.694" v="4951" actId="478"/>
          <ac:picMkLst>
            <pc:docMk/>
            <pc:sldMk cId="4198188068" sldId="690"/>
            <ac:picMk id="2" creationId="{4D2AA1CD-2335-4279-A73C-E7AEDCDBCACB}"/>
          </ac:picMkLst>
        </pc:picChg>
        <pc:picChg chg="add mod">
          <ac:chgData name="Sam Mesel" userId="1ee7badb-5d1f-4872-89ae-dcf7b71f276a" providerId="ADAL" clId="{53886FC4-CEC3-49C2-A16F-E052A3E85A45}" dt="2020-03-12T02:11:00.868" v="4953" actId="1076"/>
          <ac:picMkLst>
            <pc:docMk/>
            <pc:sldMk cId="4198188068" sldId="690"/>
            <ac:picMk id="3" creationId="{AD3DDFC8-15C7-4ECB-9761-9B35B03BFF09}"/>
          </ac:picMkLst>
        </pc:picChg>
        <pc:picChg chg="add">
          <ac:chgData name="Sam Mesel" userId="1ee7badb-5d1f-4872-89ae-dcf7b71f276a" providerId="ADAL" clId="{53886FC4-CEC3-49C2-A16F-E052A3E85A45}" dt="2020-03-12T02:11:05.542" v="4955"/>
          <ac:picMkLst>
            <pc:docMk/>
            <pc:sldMk cId="4198188068" sldId="690"/>
            <ac:picMk id="4" creationId="{C475A4F6-5CBC-444F-BC31-062C80F119B0}"/>
          </ac:picMkLst>
        </pc:picChg>
        <pc:picChg chg="add">
          <ac:chgData name="Sam Mesel" userId="1ee7badb-5d1f-4872-89ae-dcf7b71f276a" providerId="ADAL" clId="{53886FC4-CEC3-49C2-A16F-E052A3E85A45}" dt="2020-03-12T02:11:19.084" v="4958"/>
          <ac:picMkLst>
            <pc:docMk/>
            <pc:sldMk cId="4198188068" sldId="690"/>
            <ac:picMk id="8" creationId="{2AF9DE40-58CB-4B29-BF80-5A55ABF4C282}"/>
          </ac:picMkLst>
        </pc:picChg>
      </pc:sldChg>
      <pc:sldChg chg="addSp delSp modSp add del mod modAnim">
        <pc:chgData name="Sam Mesel" userId="1ee7badb-5d1f-4872-89ae-dcf7b71f276a" providerId="ADAL" clId="{53886FC4-CEC3-49C2-A16F-E052A3E85A45}" dt="2020-03-20T00:35:59.108" v="13049" actId="47"/>
        <pc:sldMkLst>
          <pc:docMk/>
          <pc:sldMk cId="2275465758" sldId="691"/>
        </pc:sldMkLst>
        <pc:spChg chg="mod">
          <ac:chgData name="Sam Mesel" userId="1ee7badb-5d1f-4872-89ae-dcf7b71f276a" providerId="ADAL" clId="{53886FC4-CEC3-49C2-A16F-E052A3E85A45}" dt="2020-03-12T02:12:02.428" v="4990" actId="20577"/>
          <ac:spMkLst>
            <pc:docMk/>
            <pc:sldMk cId="2275465758" sldId="691"/>
            <ac:spMk id="5" creationId="{C94CA7AA-65F4-4524-A2AB-C62022A716BA}"/>
          </ac:spMkLst>
        </pc:spChg>
        <pc:spChg chg="del">
          <ac:chgData name="Sam Mesel" userId="1ee7badb-5d1f-4872-89ae-dcf7b71f276a" providerId="ADAL" clId="{53886FC4-CEC3-49C2-A16F-E052A3E85A45}" dt="2020-03-12T02:12:17.632" v="4992" actId="478"/>
          <ac:spMkLst>
            <pc:docMk/>
            <pc:sldMk cId="2275465758" sldId="691"/>
            <ac:spMk id="7" creationId="{91E9D200-2E0E-4449-9BE8-4B60C0C6B152}"/>
          </ac:spMkLst>
        </pc:spChg>
        <pc:picChg chg="add mod">
          <ac:chgData name="Sam Mesel" userId="1ee7badb-5d1f-4872-89ae-dcf7b71f276a" providerId="ADAL" clId="{53886FC4-CEC3-49C2-A16F-E052A3E85A45}" dt="2020-03-12T02:12:21.509" v="4993" actId="1076"/>
          <ac:picMkLst>
            <pc:docMk/>
            <pc:sldMk cId="2275465758" sldId="691"/>
            <ac:picMk id="2" creationId="{881E356C-ECCA-4FAC-87F7-3FDE0EC6CF9C}"/>
          </ac:picMkLst>
        </pc:picChg>
        <pc:picChg chg="add">
          <ac:chgData name="Sam Mesel" userId="1ee7badb-5d1f-4872-89ae-dcf7b71f276a" providerId="ADAL" clId="{53886FC4-CEC3-49C2-A16F-E052A3E85A45}" dt="2020-03-12T02:12:35.907" v="4995"/>
          <ac:picMkLst>
            <pc:docMk/>
            <pc:sldMk cId="2275465758" sldId="691"/>
            <ac:picMk id="3" creationId="{CB8BD4E6-18F5-4F13-9668-A69541494EEA}"/>
          </ac:picMkLst>
        </pc:picChg>
        <pc:picChg chg="add">
          <ac:chgData name="Sam Mesel" userId="1ee7badb-5d1f-4872-89ae-dcf7b71f276a" providerId="ADAL" clId="{53886FC4-CEC3-49C2-A16F-E052A3E85A45}" dt="2020-03-12T02:12:48.374" v="4998"/>
          <ac:picMkLst>
            <pc:docMk/>
            <pc:sldMk cId="2275465758" sldId="691"/>
            <ac:picMk id="4" creationId="{D4BF82C0-37C3-49BF-8083-D86C76447216}"/>
          </ac:picMkLst>
        </pc:picChg>
      </pc:sldChg>
      <pc:sldChg chg="addSp delSp modSp add del mod ord delAnim modAnim">
        <pc:chgData name="Sam Mesel" userId="1ee7badb-5d1f-4872-89ae-dcf7b71f276a" providerId="ADAL" clId="{53886FC4-CEC3-49C2-A16F-E052A3E85A45}" dt="2020-03-20T00:37:07.357" v="13071" actId="47"/>
        <pc:sldMkLst>
          <pc:docMk/>
          <pc:sldMk cId="3098893957" sldId="692"/>
        </pc:sldMkLst>
        <pc:spChg chg="mod">
          <ac:chgData name="Sam Mesel" userId="1ee7badb-5d1f-4872-89ae-dcf7b71f276a" providerId="ADAL" clId="{53886FC4-CEC3-49C2-A16F-E052A3E85A45}" dt="2020-03-12T02:14:07.591" v="5053" actId="20577"/>
          <ac:spMkLst>
            <pc:docMk/>
            <pc:sldMk cId="3098893957" sldId="692"/>
            <ac:spMk id="5" creationId="{C94CA7AA-65F4-4524-A2AB-C62022A716BA}"/>
          </ac:spMkLst>
        </pc:spChg>
        <pc:picChg chg="del">
          <ac:chgData name="Sam Mesel" userId="1ee7badb-5d1f-4872-89ae-dcf7b71f276a" providerId="ADAL" clId="{53886FC4-CEC3-49C2-A16F-E052A3E85A45}" dt="2020-03-12T02:13:54.246" v="5010" actId="478"/>
          <ac:picMkLst>
            <pc:docMk/>
            <pc:sldMk cId="3098893957" sldId="692"/>
            <ac:picMk id="2" creationId="{881E356C-ECCA-4FAC-87F7-3FDE0EC6CF9C}"/>
          </ac:picMkLst>
        </pc:picChg>
        <pc:picChg chg="del">
          <ac:chgData name="Sam Mesel" userId="1ee7badb-5d1f-4872-89ae-dcf7b71f276a" providerId="ADAL" clId="{53886FC4-CEC3-49C2-A16F-E052A3E85A45}" dt="2020-03-12T02:13:53.582" v="5009" actId="478"/>
          <ac:picMkLst>
            <pc:docMk/>
            <pc:sldMk cId="3098893957" sldId="692"/>
            <ac:picMk id="3" creationId="{CB8BD4E6-18F5-4F13-9668-A69541494EEA}"/>
          </ac:picMkLst>
        </pc:picChg>
        <pc:picChg chg="del">
          <ac:chgData name="Sam Mesel" userId="1ee7badb-5d1f-4872-89ae-dcf7b71f276a" providerId="ADAL" clId="{53886FC4-CEC3-49C2-A16F-E052A3E85A45}" dt="2020-03-12T02:13:52.848" v="5008" actId="478"/>
          <ac:picMkLst>
            <pc:docMk/>
            <pc:sldMk cId="3098893957" sldId="692"/>
            <ac:picMk id="4" creationId="{D4BF82C0-37C3-49BF-8083-D86C76447216}"/>
          </ac:picMkLst>
        </pc:picChg>
        <pc:picChg chg="add del mod">
          <ac:chgData name="Sam Mesel" userId="1ee7badb-5d1f-4872-89ae-dcf7b71f276a" providerId="ADAL" clId="{53886FC4-CEC3-49C2-A16F-E052A3E85A45}" dt="2020-03-12T02:14:38.563" v="5056" actId="478"/>
          <ac:picMkLst>
            <pc:docMk/>
            <pc:sldMk cId="3098893957" sldId="692"/>
            <ac:picMk id="7" creationId="{49ABA1FD-AC70-44A2-BB32-4539EEB130A9}"/>
          </ac:picMkLst>
        </pc:picChg>
        <pc:picChg chg="add mod">
          <ac:chgData name="Sam Mesel" userId="1ee7badb-5d1f-4872-89ae-dcf7b71f276a" providerId="ADAL" clId="{53886FC4-CEC3-49C2-A16F-E052A3E85A45}" dt="2020-03-12T02:14:50.909" v="5058" actId="1076"/>
          <ac:picMkLst>
            <pc:docMk/>
            <pc:sldMk cId="3098893957" sldId="692"/>
            <ac:picMk id="8" creationId="{EE15E4CE-EFAC-432D-97AA-7FA059E2F813}"/>
          </ac:picMkLst>
        </pc:picChg>
        <pc:picChg chg="add mod">
          <ac:chgData name="Sam Mesel" userId="1ee7badb-5d1f-4872-89ae-dcf7b71f276a" providerId="ADAL" clId="{53886FC4-CEC3-49C2-A16F-E052A3E85A45}" dt="2020-03-12T02:15:31.588" v="5063" actId="14100"/>
          <ac:picMkLst>
            <pc:docMk/>
            <pc:sldMk cId="3098893957" sldId="692"/>
            <ac:picMk id="9" creationId="{F31E9EBE-DF72-4D49-9228-9425348C6FF0}"/>
          </ac:picMkLst>
        </pc:picChg>
        <pc:picChg chg="add mod">
          <ac:chgData name="Sam Mesel" userId="1ee7badb-5d1f-4872-89ae-dcf7b71f276a" providerId="ADAL" clId="{53886FC4-CEC3-49C2-A16F-E052A3E85A45}" dt="2020-03-12T02:16:13.141" v="5071" actId="14100"/>
          <ac:picMkLst>
            <pc:docMk/>
            <pc:sldMk cId="3098893957" sldId="692"/>
            <ac:picMk id="10" creationId="{4606E070-7C50-4B8C-B02C-A4193909350B}"/>
          </ac:picMkLst>
        </pc:picChg>
      </pc:sldChg>
      <pc:sldChg chg="add del">
        <pc:chgData name="Sam Mesel" userId="1ee7badb-5d1f-4872-89ae-dcf7b71f276a" providerId="ADAL" clId="{53886FC4-CEC3-49C2-A16F-E052A3E85A45}" dt="2020-03-12T02:13:31.282" v="5000" actId="47"/>
        <pc:sldMkLst>
          <pc:docMk/>
          <pc:sldMk cId="4024085809" sldId="692"/>
        </pc:sldMkLst>
      </pc:sldChg>
      <pc:sldChg chg="delSp modSp add del mod delAnim">
        <pc:chgData name="Sam Mesel" userId="1ee7badb-5d1f-4872-89ae-dcf7b71f276a" providerId="ADAL" clId="{53886FC4-CEC3-49C2-A16F-E052A3E85A45}" dt="2020-03-12T02:21:38.990" v="5110" actId="47"/>
        <pc:sldMkLst>
          <pc:docMk/>
          <pc:sldMk cId="269402414" sldId="693"/>
        </pc:sldMkLst>
        <pc:spChg chg="mod">
          <ac:chgData name="Sam Mesel" userId="1ee7badb-5d1f-4872-89ae-dcf7b71f276a" providerId="ADAL" clId="{53886FC4-CEC3-49C2-A16F-E052A3E85A45}" dt="2020-03-12T02:16:33.739" v="5102" actId="20577"/>
          <ac:spMkLst>
            <pc:docMk/>
            <pc:sldMk cId="269402414" sldId="693"/>
            <ac:spMk id="5" creationId="{C94CA7AA-65F4-4524-A2AB-C62022A716BA}"/>
          </ac:spMkLst>
        </pc:spChg>
        <pc:picChg chg="del">
          <ac:chgData name="Sam Mesel" userId="1ee7badb-5d1f-4872-89ae-dcf7b71f276a" providerId="ADAL" clId="{53886FC4-CEC3-49C2-A16F-E052A3E85A45}" dt="2020-03-12T02:16:20.982" v="5075" actId="478"/>
          <ac:picMkLst>
            <pc:docMk/>
            <pc:sldMk cId="269402414" sldId="693"/>
            <ac:picMk id="8" creationId="{EE15E4CE-EFAC-432D-97AA-7FA059E2F813}"/>
          </ac:picMkLst>
        </pc:picChg>
        <pc:picChg chg="del">
          <ac:chgData name="Sam Mesel" userId="1ee7badb-5d1f-4872-89ae-dcf7b71f276a" providerId="ADAL" clId="{53886FC4-CEC3-49C2-A16F-E052A3E85A45}" dt="2020-03-12T02:16:19.811" v="5074" actId="478"/>
          <ac:picMkLst>
            <pc:docMk/>
            <pc:sldMk cId="269402414" sldId="693"/>
            <ac:picMk id="9" creationId="{F31E9EBE-DF72-4D49-9228-9425348C6FF0}"/>
          </ac:picMkLst>
        </pc:picChg>
        <pc:picChg chg="del">
          <ac:chgData name="Sam Mesel" userId="1ee7badb-5d1f-4872-89ae-dcf7b71f276a" providerId="ADAL" clId="{53886FC4-CEC3-49C2-A16F-E052A3E85A45}" dt="2020-03-12T02:16:19.016" v="5073" actId="478"/>
          <ac:picMkLst>
            <pc:docMk/>
            <pc:sldMk cId="269402414" sldId="693"/>
            <ac:picMk id="10" creationId="{4606E070-7C50-4B8C-B02C-A4193909350B}"/>
          </ac:picMkLst>
        </pc:picChg>
      </pc:sldChg>
      <pc:sldChg chg="add del">
        <pc:chgData name="Sam Mesel" userId="1ee7badb-5d1f-4872-89ae-dcf7b71f276a" providerId="ADAL" clId="{53886FC4-CEC3-49C2-A16F-E052A3E85A45}" dt="2020-03-12T02:13:32.434" v="5001" actId="47"/>
        <pc:sldMkLst>
          <pc:docMk/>
          <pc:sldMk cId="2573509326" sldId="693"/>
        </pc:sldMkLst>
      </pc:sldChg>
      <pc:sldChg chg="addSp delSp modSp add mod delAnim">
        <pc:chgData name="Sam Mesel" userId="1ee7badb-5d1f-4872-89ae-dcf7b71f276a" providerId="ADAL" clId="{53886FC4-CEC3-49C2-A16F-E052A3E85A45}" dt="2020-03-12T02:21:17.237" v="5109"/>
        <pc:sldMkLst>
          <pc:docMk/>
          <pc:sldMk cId="138592811" sldId="694"/>
        </pc:sldMkLst>
        <pc:spChg chg="del">
          <ac:chgData name="Sam Mesel" userId="1ee7badb-5d1f-4872-89ae-dcf7b71f276a" providerId="ADAL" clId="{53886FC4-CEC3-49C2-A16F-E052A3E85A45}" dt="2020-03-12T02:20:06.553" v="5107" actId="478"/>
          <ac:spMkLst>
            <pc:docMk/>
            <pc:sldMk cId="138592811" sldId="694"/>
            <ac:spMk id="4" creationId="{F3616A99-090F-45E1-9334-58D58B148205}"/>
          </ac:spMkLst>
        </pc:spChg>
        <pc:spChg chg="add del mod">
          <ac:chgData name="Sam Mesel" userId="1ee7badb-5d1f-4872-89ae-dcf7b71f276a" providerId="ADAL" clId="{53886FC4-CEC3-49C2-A16F-E052A3E85A45}" dt="2020-03-12T02:21:17.237" v="5109"/>
          <ac:spMkLst>
            <pc:docMk/>
            <pc:sldMk cId="138592811" sldId="694"/>
            <ac:spMk id="6" creationId="{540FF495-DEE3-4DE0-9E18-E8F0A92DB186}"/>
          </ac:spMkLst>
        </pc:spChg>
        <pc:picChg chg="add mod">
          <ac:chgData name="Sam Mesel" userId="1ee7badb-5d1f-4872-89ae-dcf7b71f276a" providerId="ADAL" clId="{53886FC4-CEC3-49C2-A16F-E052A3E85A45}" dt="2020-03-12T02:21:17.237" v="5109"/>
          <ac:picMkLst>
            <pc:docMk/>
            <pc:sldMk cId="138592811" sldId="694"/>
            <ac:picMk id="7" creationId="{DEC1E129-1CB3-4969-AB1C-066D1E0F1B53}"/>
          </ac:picMkLst>
        </pc:picChg>
        <pc:picChg chg="del">
          <ac:chgData name="Sam Mesel" userId="1ee7badb-5d1f-4872-89ae-dcf7b71f276a" providerId="ADAL" clId="{53886FC4-CEC3-49C2-A16F-E052A3E85A45}" dt="2020-03-12T02:20:18.504" v="5108" actId="478"/>
          <ac:picMkLst>
            <pc:docMk/>
            <pc:sldMk cId="138592811" sldId="694"/>
            <ac:picMk id="8" creationId="{CA17CF02-C4D1-4F45-A971-6277FA5FAAEA}"/>
          </ac:picMkLst>
        </pc:picChg>
        <pc:picChg chg="del">
          <ac:chgData name="Sam Mesel" userId="1ee7badb-5d1f-4872-89ae-dcf7b71f276a" providerId="ADAL" clId="{53886FC4-CEC3-49C2-A16F-E052A3E85A45}" dt="2020-03-12T02:20:05.477" v="5106" actId="478"/>
          <ac:picMkLst>
            <pc:docMk/>
            <pc:sldMk cId="138592811" sldId="694"/>
            <ac:picMk id="9" creationId="{18683C53-2448-4694-9CAD-BC92FAD0FCB2}"/>
          </ac:picMkLst>
        </pc:picChg>
        <pc:picChg chg="del">
          <ac:chgData name="Sam Mesel" userId="1ee7badb-5d1f-4872-89ae-dcf7b71f276a" providerId="ADAL" clId="{53886FC4-CEC3-49C2-A16F-E052A3E85A45}" dt="2020-03-12T02:20:04.784" v="5105" actId="478"/>
          <ac:picMkLst>
            <pc:docMk/>
            <pc:sldMk cId="138592811" sldId="694"/>
            <ac:picMk id="10" creationId="{15E1F92C-8A4F-4EFF-BA0F-AF20ECDF9FE5}"/>
          </ac:picMkLst>
        </pc:picChg>
        <pc:picChg chg="del">
          <ac:chgData name="Sam Mesel" userId="1ee7badb-5d1f-4872-89ae-dcf7b71f276a" providerId="ADAL" clId="{53886FC4-CEC3-49C2-A16F-E052A3E85A45}" dt="2020-03-12T02:20:04.090" v="5104" actId="478"/>
          <ac:picMkLst>
            <pc:docMk/>
            <pc:sldMk cId="138592811" sldId="694"/>
            <ac:picMk id="11" creationId="{04C12883-2F02-40DD-BBB4-21E766C8DC9B}"/>
          </ac:picMkLst>
        </pc:picChg>
      </pc:sldChg>
      <pc:sldChg chg="add del">
        <pc:chgData name="Sam Mesel" userId="1ee7badb-5d1f-4872-89ae-dcf7b71f276a" providerId="ADAL" clId="{53886FC4-CEC3-49C2-A16F-E052A3E85A45}" dt="2020-03-12T02:13:33.401" v="5002" actId="47"/>
        <pc:sldMkLst>
          <pc:docMk/>
          <pc:sldMk cId="894302844" sldId="694"/>
        </pc:sldMkLst>
      </pc:sldChg>
      <pc:sldChg chg="add del">
        <pc:chgData name="Sam Mesel" userId="1ee7badb-5d1f-4872-89ae-dcf7b71f276a" providerId="ADAL" clId="{53886FC4-CEC3-49C2-A16F-E052A3E85A45}" dt="2020-03-12T02:13:34.145" v="5003" actId="47"/>
        <pc:sldMkLst>
          <pc:docMk/>
          <pc:sldMk cId="1368482571" sldId="695"/>
        </pc:sldMkLst>
      </pc:sldChg>
      <pc:sldChg chg="addSp delSp modSp add mod ord delAnim modAnim modNotesTx">
        <pc:chgData name="Sam Mesel" userId="1ee7badb-5d1f-4872-89ae-dcf7b71f276a" providerId="ADAL" clId="{53886FC4-CEC3-49C2-A16F-E052A3E85A45}" dt="2020-03-20T00:37:17.767" v="13072" actId="6549"/>
        <pc:sldMkLst>
          <pc:docMk/>
          <pc:sldMk cId="2873864563" sldId="695"/>
        </pc:sldMkLst>
        <pc:spChg chg="mod">
          <ac:chgData name="Sam Mesel" userId="1ee7badb-5d1f-4872-89ae-dcf7b71f276a" providerId="ADAL" clId="{53886FC4-CEC3-49C2-A16F-E052A3E85A45}" dt="2020-03-12T02:22:04.810" v="5133" actId="20577"/>
          <ac:spMkLst>
            <pc:docMk/>
            <pc:sldMk cId="2873864563" sldId="695"/>
            <ac:spMk id="2" creationId="{EB67312A-9819-43C6-8D84-D9136E6CFFCC}"/>
          </ac:spMkLst>
        </pc:spChg>
        <pc:spChg chg="mod">
          <ac:chgData name="Sam Mesel" userId="1ee7badb-5d1f-4872-89ae-dcf7b71f276a" providerId="ADAL" clId="{53886FC4-CEC3-49C2-A16F-E052A3E85A45}" dt="2020-03-12T02:22:08.409" v="5134" actId="6549"/>
          <ac:spMkLst>
            <pc:docMk/>
            <pc:sldMk cId="2873864563" sldId="695"/>
            <ac:spMk id="3" creationId="{F35E8CBB-5A7D-4DEF-BAF7-8DD5D042F9E0}"/>
          </ac:spMkLst>
        </pc:spChg>
        <pc:spChg chg="mod">
          <ac:chgData name="Sam Mesel" userId="1ee7badb-5d1f-4872-89ae-dcf7b71f276a" providerId="ADAL" clId="{53886FC4-CEC3-49C2-A16F-E052A3E85A45}" dt="2020-03-12T02:23:33.145" v="5188" actId="6549"/>
          <ac:spMkLst>
            <pc:docMk/>
            <pc:sldMk cId="2873864563" sldId="695"/>
            <ac:spMk id="4" creationId="{F3616A99-090F-45E1-9334-58D58B148205}"/>
          </ac:spMkLst>
        </pc:spChg>
        <pc:picChg chg="add mod">
          <ac:chgData name="Sam Mesel" userId="1ee7badb-5d1f-4872-89ae-dcf7b71f276a" providerId="ADAL" clId="{53886FC4-CEC3-49C2-A16F-E052A3E85A45}" dt="2020-03-12T02:24:04.453" v="5191" actId="1076"/>
          <ac:picMkLst>
            <pc:docMk/>
            <pc:sldMk cId="2873864563" sldId="695"/>
            <ac:picMk id="5" creationId="{64D61B61-D458-4C33-8529-090FE2D6B7DD}"/>
          </ac:picMkLst>
        </pc:picChg>
        <pc:picChg chg="add mod">
          <ac:chgData name="Sam Mesel" userId="1ee7badb-5d1f-4872-89ae-dcf7b71f276a" providerId="ADAL" clId="{53886FC4-CEC3-49C2-A16F-E052A3E85A45}" dt="2020-03-12T02:24:22.187" v="5194" actId="1076"/>
          <ac:picMkLst>
            <pc:docMk/>
            <pc:sldMk cId="2873864563" sldId="695"/>
            <ac:picMk id="6" creationId="{9B8A4429-8881-4142-A9CE-708C4C7BCA6C}"/>
          </ac:picMkLst>
        </pc:picChg>
        <pc:picChg chg="del">
          <ac:chgData name="Sam Mesel" userId="1ee7badb-5d1f-4872-89ae-dcf7b71f276a" providerId="ADAL" clId="{53886FC4-CEC3-49C2-A16F-E052A3E85A45}" dt="2020-03-12T02:22:13.315" v="5138" actId="478"/>
          <ac:picMkLst>
            <pc:docMk/>
            <pc:sldMk cId="2873864563" sldId="695"/>
            <ac:picMk id="8" creationId="{CA17CF02-C4D1-4F45-A971-6277FA5FAAEA}"/>
          </ac:picMkLst>
        </pc:picChg>
        <pc:picChg chg="del">
          <ac:chgData name="Sam Mesel" userId="1ee7badb-5d1f-4872-89ae-dcf7b71f276a" providerId="ADAL" clId="{53886FC4-CEC3-49C2-A16F-E052A3E85A45}" dt="2020-03-12T02:22:12.508" v="5137" actId="478"/>
          <ac:picMkLst>
            <pc:docMk/>
            <pc:sldMk cId="2873864563" sldId="695"/>
            <ac:picMk id="9" creationId="{18683C53-2448-4694-9CAD-BC92FAD0FCB2}"/>
          </ac:picMkLst>
        </pc:picChg>
        <pc:picChg chg="del">
          <ac:chgData name="Sam Mesel" userId="1ee7badb-5d1f-4872-89ae-dcf7b71f276a" providerId="ADAL" clId="{53886FC4-CEC3-49C2-A16F-E052A3E85A45}" dt="2020-03-12T02:22:11.857" v="5136" actId="478"/>
          <ac:picMkLst>
            <pc:docMk/>
            <pc:sldMk cId="2873864563" sldId="695"/>
            <ac:picMk id="10" creationId="{15E1F92C-8A4F-4EFF-BA0F-AF20ECDF9FE5}"/>
          </ac:picMkLst>
        </pc:picChg>
        <pc:picChg chg="del">
          <ac:chgData name="Sam Mesel" userId="1ee7badb-5d1f-4872-89ae-dcf7b71f276a" providerId="ADAL" clId="{53886FC4-CEC3-49C2-A16F-E052A3E85A45}" dt="2020-03-12T02:22:11.053" v="5135" actId="478"/>
          <ac:picMkLst>
            <pc:docMk/>
            <pc:sldMk cId="2873864563" sldId="695"/>
            <ac:picMk id="11" creationId="{04C12883-2F02-40DD-BBB4-21E766C8DC9B}"/>
          </ac:picMkLst>
        </pc:picChg>
      </pc:sldChg>
      <pc:sldChg chg="addSp delSp modSp add mod delAnim modAnim">
        <pc:chgData name="Sam Mesel" userId="1ee7badb-5d1f-4872-89ae-dcf7b71f276a" providerId="ADAL" clId="{53886FC4-CEC3-49C2-A16F-E052A3E85A45}" dt="2020-03-19T19:31:50.424" v="8007"/>
        <pc:sldMkLst>
          <pc:docMk/>
          <pc:sldMk cId="94860651" sldId="696"/>
        </pc:sldMkLst>
        <pc:spChg chg="mod">
          <ac:chgData name="Sam Mesel" userId="1ee7badb-5d1f-4872-89ae-dcf7b71f276a" providerId="ADAL" clId="{53886FC4-CEC3-49C2-A16F-E052A3E85A45}" dt="2020-03-19T19:27:57.058" v="7973" actId="20577"/>
          <ac:spMkLst>
            <pc:docMk/>
            <pc:sldMk cId="94860651" sldId="696"/>
            <ac:spMk id="4" creationId="{F3616A99-090F-45E1-9334-58D58B148205}"/>
          </ac:spMkLst>
        </pc:spChg>
        <pc:spChg chg="add mod">
          <ac:chgData name="Sam Mesel" userId="1ee7badb-5d1f-4872-89ae-dcf7b71f276a" providerId="ADAL" clId="{53886FC4-CEC3-49C2-A16F-E052A3E85A45}" dt="2020-03-19T19:22:39.682" v="7847" actId="255"/>
          <ac:spMkLst>
            <pc:docMk/>
            <pc:sldMk cId="94860651" sldId="696"/>
            <ac:spMk id="5" creationId="{BB76AEF3-1138-4507-A25C-96F2CB874EBD}"/>
          </ac:spMkLst>
        </pc:spChg>
        <pc:spChg chg="add mod">
          <ac:chgData name="Sam Mesel" userId="1ee7badb-5d1f-4872-89ae-dcf7b71f276a" providerId="ADAL" clId="{53886FC4-CEC3-49C2-A16F-E052A3E85A45}" dt="2020-03-19T19:23:11.143" v="7853" actId="14100"/>
          <ac:spMkLst>
            <pc:docMk/>
            <pc:sldMk cId="94860651" sldId="696"/>
            <ac:spMk id="6" creationId="{607D6BD3-65C9-4CE1-935A-93F92604BF44}"/>
          </ac:spMkLst>
        </pc:spChg>
        <pc:spChg chg="add mod">
          <ac:chgData name="Sam Mesel" userId="1ee7badb-5d1f-4872-89ae-dcf7b71f276a" providerId="ADAL" clId="{53886FC4-CEC3-49C2-A16F-E052A3E85A45}" dt="2020-03-19T19:29:36.502" v="7997" actId="6549"/>
          <ac:spMkLst>
            <pc:docMk/>
            <pc:sldMk cId="94860651" sldId="696"/>
            <ac:spMk id="7" creationId="{F2415CB4-AE42-435C-8447-26D6B5ED14D3}"/>
          </ac:spMkLst>
        </pc:spChg>
        <pc:spChg chg="add mod">
          <ac:chgData name="Sam Mesel" userId="1ee7badb-5d1f-4872-89ae-dcf7b71f276a" providerId="ADAL" clId="{53886FC4-CEC3-49C2-A16F-E052A3E85A45}" dt="2020-03-19T19:31:32.489" v="8005" actId="339"/>
          <ac:spMkLst>
            <pc:docMk/>
            <pc:sldMk cId="94860651" sldId="696"/>
            <ac:spMk id="8" creationId="{0AC41649-80A3-4A32-932F-1A1683D68A20}"/>
          </ac:spMkLst>
        </pc:spChg>
        <pc:spChg chg="add mod">
          <ac:chgData name="Sam Mesel" userId="1ee7badb-5d1f-4872-89ae-dcf7b71f276a" providerId="ADAL" clId="{53886FC4-CEC3-49C2-A16F-E052A3E85A45}" dt="2020-03-12T02:47:15.398" v="5242" actId="1582"/>
          <ac:spMkLst>
            <pc:docMk/>
            <pc:sldMk cId="94860651" sldId="696"/>
            <ac:spMk id="14" creationId="{64A9A037-B4E5-4313-82CD-49B0E07B6021}"/>
          </ac:spMkLst>
        </pc:spChg>
        <pc:picChg chg="del">
          <ac:chgData name="Sam Mesel" userId="1ee7badb-5d1f-4872-89ae-dcf7b71f276a" providerId="ADAL" clId="{53886FC4-CEC3-49C2-A16F-E052A3E85A45}" dt="2020-03-12T02:24:31.865" v="5198" actId="478"/>
          <ac:picMkLst>
            <pc:docMk/>
            <pc:sldMk cId="94860651" sldId="696"/>
            <ac:picMk id="5" creationId="{64D61B61-D458-4C33-8529-090FE2D6B7DD}"/>
          </ac:picMkLst>
        </pc:picChg>
        <pc:picChg chg="del">
          <ac:chgData name="Sam Mesel" userId="1ee7badb-5d1f-4872-89ae-dcf7b71f276a" providerId="ADAL" clId="{53886FC4-CEC3-49C2-A16F-E052A3E85A45}" dt="2020-03-12T02:24:30.741" v="5197" actId="478"/>
          <ac:picMkLst>
            <pc:docMk/>
            <pc:sldMk cId="94860651" sldId="696"/>
            <ac:picMk id="6" creationId="{9B8A4429-8881-4142-A9CE-708C4C7BCA6C}"/>
          </ac:picMkLst>
        </pc:picChg>
        <pc:picChg chg="add del mod modCrop">
          <ac:chgData name="Sam Mesel" userId="1ee7badb-5d1f-4872-89ae-dcf7b71f276a" providerId="ADAL" clId="{53886FC4-CEC3-49C2-A16F-E052A3E85A45}" dt="2020-03-12T02:42:24.414" v="5218" actId="478"/>
          <ac:picMkLst>
            <pc:docMk/>
            <pc:sldMk cId="94860651" sldId="696"/>
            <ac:picMk id="7" creationId="{6EAD0DA8-3C9F-43BB-A7F3-F06DFB73B75C}"/>
          </ac:picMkLst>
        </pc:picChg>
        <pc:picChg chg="add del mod">
          <ac:chgData name="Sam Mesel" userId="1ee7badb-5d1f-4872-89ae-dcf7b71f276a" providerId="ADAL" clId="{53886FC4-CEC3-49C2-A16F-E052A3E85A45}" dt="2020-03-12T02:42:25.266" v="5219" actId="478"/>
          <ac:picMkLst>
            <pc:docMk/>
            <pc:sldMk cId="94860651" sldId="696"/>
            <ac:picMk id="8" creationId="{C9F23906-3EFE-4C24-9654-8D6A6AB2CD7D}"/>
          </ac:picMkLst>
        </pc:picChg>
        <pc:picChg chg="add del mod">
          <ac:chgData name="Sam Mesel" userId="1ee7badb-5d1f-4872-89ae-dcf7b71f276a" providerId="ADAL" clId="{53886FC4-CEC3-49C2-A16F-E052A3E85A45}" dt="2020-03-12T02:42:23.214" v="5217" actId="478"/>
          <ac:picMkLst>
            <pc:docMk/>
            <pc:sldMk cId="94860651" sldId="696"/>
            <ac:picMk id="10" creationId="{B02B8F76-C473-4665-9C62-4A1537912DE4}"/>
          </ac:picMkLst>
        </pc:picChg>
        <pc:picChg chg="add mod">
          <ac:chgData name="Sam Mesel" userId="1ee7badb-5d1f-4872-89ae-dcf7b71f276a" providerId="ADAL" clId="{53886FC4-CEC3-49C2-A16F-E052A3E85A45}" dt="2020-03-19T19:24:40.091" v="7864" actId="1076"/>
          <ac:picMkLst>
            <pc:docMk/>
            <pc:sldMk cId="94860651" sldId="696"/>
            <ac:picMk id="11" creationId="{119D7917-A61B-4432-89FD-A92F8C8A966C}"/>
          </ac:picMkLst>
        </pc:picChg>
        <pc:picChg chg="add mod ord modCrop">
          <ac:chgData name="Sam Mesel" userId="1ee7badb-5d1f-4872-89ae-dcf7b71f276a" providerId="ADAL" clId="{53886FC4-CEC3-49C2-A16F-E052A3E85A45}" dt="2020-03-19T19:29:28.731" v="7987" actId="167"/>
          <ac:picMkLst>
            <pc:docMk/>
            <pc:sldMk cId="94860651" sldId="696"/>
            <ac:picMk id="12" creationId="{CE83F876-A9B7-4123-9779-E6C9980EAA29}"/>
          </ac:picMkLst>
        </pc:picChg>
        <pc:picChg chg="add mod ord modCrop">
          <ac:chgData name="Sam Mesel" userId="1ee7badb-5d1f-4872-89ae-dcf7b71f276a" providerId="ADAL" clId="{53886FC4-CEC3-49C2-A16F-E052A3E85A45}" dt="2020-03-19T19:25:07.647" v="7866" actId="732"/>
          <ac:picMkLst>
            <pc:docMk/>
            <pc:sldMk cId="94860651" sldId="696"/>
            <ac:picMk id="13" creationId="{87877E67-A133-41E4-86AE-F32BFBBC7B15}"/>
          </ac:picMkLst>
        </pc:picChg>
      </pc:sldChg>
      <pc:sldChg chg="add del">
        <pc:chgData name="Sam Mesel" userId="1ee7badb-5d1f-4872-89ae-dcf7b71f276a" providerId="ADAL" clId="{53886FC4-CEC3-49C2-A16F-E052A3E85A45}" dt="2020-03-12T02:13:34.848" v="5004" actId="47"/>
        <pc:sldMkLst>
          <pc:docMk/>
          <pc:sldMk cId="3756249908" sldId="696"/>
        </pc:sldMkLst>
      </pc:sldChg>
      <pc:sldChg chg="addSp delSp modSp add mod delAnim modAnim modNotesTx">
        <pc:chgData name="Sam Mesel" userId="1ee7badb-5d1f-4872-89ae-dcf7b71f276a" providerId="ADAL" clId="{53886FC4-CEC3-49C2-A16F-E052A3E85A45}" dt="2020-03-19T20:00:12.275" v="9283" actId="122"/>
        <pc:sldMkLst>
          <pc:docMk/>
          <pc:sldMk cId="837806591" sldId="697"/>
        </pc:sldMkLst>
        <pc:spChg chg="mod">
          <ac:chgData name="Sam Mesel" userId="1ee7badb-5d1f-4872-89ae-dcf7b71f276a" providerId="ADAL" clId="{53886FC4-CEC3-49C2-A16F-E052A3E85A45}" dt="2020-03-19T19:37:57.677" v="8311" actId="21"/>
          <ac:spMkLst>
            <pc:docMk/>
            <pc:sldMk cId="837806591" sldId="697"/>
            <ac:spMk id="2" creationId="{EB67312A-9819-43C6-8D84-D9136E6CFFCC}"/>
          </ac:spMkLst>
        </pc:spChg>
        <pc:spChg chg="mod">
          <ac:chgData name="Sam Mesel" userId="1ee7badb-5d1f-4872-89ae-dcf7b71f276a" providerId="ADAL" clId="{53886FC4-CEC3-49C2-A16F-E052A3E85A45}" dt="2020-03-19T19:38:04.006" v="8312"/>
          <ac:spMkLst>
            <pc:docMk/>
            <pc:sldMk cId="837806591" sldId="697"/>
            <ac:spMk id="3" creationId="{F35E8CBB-5A7D-4DEF-BAF7-8DD5D042F9E0}"/>
          </ac:spMkLst>
        </pc:spChg>
        <pc:spChg chg="mod">
          <ac:chgData name="Sam Mesel" userId="1ee7badb-5d1f-4872-89ae-dcf7b71f276a" providerId="ADAL" clId="{53886FC4-CEC3-49C2-A16F-E052A3E85A45}" dt="2020-03-19T19:56:56.538" v="9252" actId="20577"/>
          <ac:spMkLst>
            <pc:docMk/>
            <pc:sldMk cId="837806591" sldId="697"/>
            <ac:spMk id="4" creationId="{F3616A99-090F-45E1-9334-58D58B148205}"/>
          </ac:spMkLst>
        </pc:spChg>
        <pc:spChg chg="add del mod">
          <ac:chgData name="Sam Mesel" userId="1ee7badb-5d1f-4872-89ae-dcf7b71f276a" providerId="ADAL" clId="{53886FC4-CEC3-49C2-A16F-E052A3E85A45}" dt="2020-03-19T19:42:51.392" v="8697" actId="12084"/>
          <ac:spMkLst>
            <pc:docMk/>
            <pc:sldMk cId="837806591" sldId="697"/>
            <ac:spMk id="6" creationId="{F7263244-A30D-4A8B-AB13-EC9474CCA1E3}"/>
          </ac:spMkLst>
        </pc:spChg>
        <pc:spChg chg="add mod">
          <ac:chgData name="Sam Mesel" userId="1ee7badb-5d1f-4872-89ae-dcf7b71f276a" providerId="ADAL" clId="{53886FC4-CEC3-49C2-A16F-E052A3E85A45}" dt="2020-03-19T20:00:12.275" v="9283" actId="122"/>
          <ac:spMkLst>
            <pc:docMk/>
            <pc:sldMk cId="837806591" sldId="697"/>
            <ac:spMk id="8" creationId="{B7F42196-B19A-45D5-8701-DDEEE8A0CAFC}"/>
          </ac:spMkLst>
        </pc:spChg>
        <pc:spChg chg="add mod ord">
          <ac:chgData name="Sam Mesel" userId="1ee7badb-5d1f-4872-89ae-dcf7b71f276a" providerId="ADAL" clId="{53886FC4-CEC3-49C2-A16F-E052A3E85A45}" dt="2020-03-19T19:59:46.531" v="9277" actId="122"/>
          <ac:spMkLst>
            <pc:docMk/>
            <pc:sldMk cId="837806591" sldId="697"/>
            <ac:spMk id="9" creationId="{333692B9-A6C7-4345-B524-524D730239FB}"/>
          </ac:spMkLst>
        </pc:spChg>
        <pc:spChg chg="add mod ord">
          <ac:chgData name="Sam Mesel" userId="1ee7badb-5d1f-4872-89ae-dcf7b71f276a" providerId="ADAL" clId="{53886FC4-CEC3-49C2-A16F-E052A3E85A45}" dt="2020-03-19T19:58:59.986" v="9269" actId="122"/>
          <ac:spMkLst>
            <pc:docMk/>
            <pc:sldMk cId="837806591" sldId="697"/>
            <ac:spMk id="10" creationId="{01E93ACD-DF4D-496D-A8A8-246AC021620C}"/>
          </ac:spMkLst>
        </pc:spChg>
        <pc:spChg chg="add mod">
          <ac:chgData name="Sam Mesel" userId="1ee7badb-5d1f-4872-89ae-dcf7b71f276a" providerId="ADAL" clId="{53886FC4-CEC3-49C2-A16F-E052A3E85A45}" dt="2020-03-19T19:57:53.254" v="9256" actId="14100"/>
          <ac:spMkLst>
            <pc:docMk/>
            <pc:sldMk cId="837806591" sldId="697"/>
            <ac:spMk id="11" creationId="{E6CF9367-AD31-496C-AB69-9762DAFE0BAE}"/>
          </ac:spMkLst>
        </pc:spChg>
        <pc:spChg chg="del">
          <ac:chgData name="Sam Mesel" userId="1ee7badb-5d1f-4872-89ae-dcf7b71f276a" providerId="ADAL" clId="{53886FC4-CEC3-49C2-A16F-E052A3E85A45}" dt="2020-03-12T02:48:09.096" v="5276" actId="478"/>
          <ac:spMkLst>
            <pc:docMk/>
            <pc:sldMk cId="837806591" sldId="697"/>
            <ac:spMk id="14" creationId="{64A9A037-B4E5-4313-82CD-49B0E07B6021}"/>
          </ac:spMkLst>
        </pc:spChg>
        <pc:graphicFrameChg chg="add mod">
          <ac:chgData name="Sam Mesel" userId="1ee7badb-5d1f-4872-89ae-dcf7b71f276a" providerId="ADAL" clId="{53886FC4-CEC3-49C2-A16F-E052A3E85A45}" dt="2020-03-19T19:53:16.967" v="9207" actId="1076"/>
          <ac:graphicFrameMkLst>
            <pc:docMk/>
            <pc:sldMk cId="837806591" sldId="697"/>
            <ac:graphicFrameMk id="5" creationId="{FA1968C2-B16A-474E-93B5-3D1165E85003}"/>
          </ac:graphicFrameMkLst>
        </pc:graphicFrameChg>
        <pc:picChg chg="add del mod">
          <ac:chgData name="Sam Mesel" userId="1ee7badb-5d1f-4872-89ae-dcf7b71f276a" providerId="ADAL" clId="{53886FC4-CEC3-49C2-A16F-E052A3E85A45}" dt="2020-03-12T02:49:34.582" v="5281" actId="478"/>
          <ac:picMkLst>
            <pc:docMk/>
            <pc:sldMk cId="837806591" sldId="697"/>
            <ac:picMk id="5" creationId="{A7EA63E4-1441-49FA-87BE-1B190677ABCF}"/>
          </ac:picMkLst>
        </pc:picChg>
        <pc:picChg chg="add del">
          <ac:chgData name="Sam Mesel" userId="1ee7badb-5d1f-4872-89ae-dcf7b71f276a" providerId="ADAL" clId="{53886FC4-CEC3-49C2-A16F-E052A3E85A45}" dt="2020-03-12T02:49:33.354" v="5280" actId="478"/>
          <ac:picMkLst>
            <pc:docMk/>
            <pc:sldMk cId="837806591" sldId="697"/>
            <ac:picMk id="6" creationId="{01427F92-E3AD-43E9-8762-CA26AC2235AF}"/>
          </ac:picMkLst>
        </pc:picChg>
        <pc:picChg chg="add del mod">
          <ac:chgData name="Sam Mesel" userId="1ee7badb-5d1f-4872-89ae-dcf7b71f276a" providerId="ADAL" clId="{53886FC4-CEC3-49C2-A16F-E052A3E85A45}" dt="2020-03-19T19:34:59.439" v="8009" actId="478"/>
          <ac:picMkLst>
            <pc:docMk/>
            <pc:sldMk cId="837806591" sldId="697"/>
            <ac:picMk id="7" creationId="{EEBE0237-40B2-4CDC-8D42-00FD97A57AEB}"/>
          </ac:picMkLst>
        </pc:picChg>
        <pc:picChg chg="del">
          <ac:chgData name="Sam Mesel" userId="1ee7badb-5d1f-4872-89ae-dcf7b71f276a" providerId="ADAL" clId="{53886FC4-CEC3-49C2-A16F-E052A3E85A45}" dt="2020-03-12T02:47:50.634" v="5245" actId="478"/>
          <ac:picMkLst>
            <pc:docMk/>
            <pc:sldMk cId="837806591" sldId="697"/>
            <ac:picMk id="11" creationId="{119D7917-A61B-4432-89FD-A92F8C8A966C}"/>
          </ac:picMkLst>
        </pc:picChg>
        <pc:picChg chg="del">
          <ac:chgData name="Sam Mesel" userId="1ee7badb-5d1f-4872-89ae-dcf7b71f276a" providerId="ADAL" clId="{53886FC4-CEC3-49C2-A16F-E052A3E85A45}" dt="2020-03-12T02:47:51.928" v="5246" actId="478"/>
          <ac:picMkLst>
            <pc:docMk/>
            <pc:sldMk cId="837806591" sldId="697"/>
            <ac:picMk id="12" creationId="{CE83F876-A9B7-4123-9779-E6C9980EAA29}"/>
          </ac:picMkLst>
        </pc:picChg>
        <pc:picChg chg="del">
          <ac:chgData name="Sam Mesel" userId="1ee7badb-5d1f-4872-89ae-dcf7b71f276a" providerId="ADAL" clId="{53886FC4-CEC3-49C2-A16F-E052A3E85A45}" dt="2020-03-12T02:47:49.414" v="5244" actId="478"/>
          <ac:picMkLst>
            <pc:docMk/>
            <pc:sldMk cId="837806591" sldId="697"/>
            <ac:picMk id="13" creationId="{87877E67-A133-41E4-86AE-F32BFBBC7B15}"/>
          </ac:picMkLst>
        </pc:picChg>
      </pc:sldChg>
      <pc:sldChg chg="modSp mod">
        <pc:chgData name="Sam Mesel" userId="1ee7badb-5d1f-4872-89ae-dcf7b71f276a" providerId="ADAL" clId="{53886FC4-CEC3-49C2-A16F-E052A3E85A45}" dt="2020-03-18T02:36:06.690" v="5307" actId="20577"/>
        <pc:sldMkLst>
          <pc:docMk/>
          <pc:sldMk cId="1667766974" sldId="1397"/>
        </pc:sldMkLst>
        <pc:spChg chg="mod">
          <ac:chgData name="Sam Mesel" userId="1ee7badb-5d1f-4872-89ae-dcf7b71f276a" providerId="ADAL" clId="{53886FC4-CEC3-49C2-A16F-E052A3E85A45}" dt="2020-03-18T02:36:06.690" v="5307" actId="20577"/>
          <ac:spMkLst>
            <pc:docMk/>
            <pc:sldMk cId="1667766974" sldId="1397"/>
            <ac:spMk id="2" creationId="{00000000-0000-0000-0000-000000000000}"/>
          </ac:spMkLst>
        </pc:spChg>
      </pc:sldChg>
      <pc:sldChg chg="modSp mod">
        <pc:chgData name="Sam Mesel" userId="1ee7badb-5d1f-4872-89ae-dcf7b71f276a" providerId="ADAL" clId="{53886FC4-CEC3-49C2-A16F-E052A3E85A45}" dt="2020-03-18T02:36:51.350" v="5311" actId="20577"/>
        <pc:sldMkLst>
          <pc:docMk/>
          <pc:sldMk cId="4030353435" sldId="1424"/>
        </pc:sldMkLst>
        <pc:spChg chg="mod">
          <ac:chgData name="Sam Mesel" userId="1ee7badb-5d1f-4872-89ae-dcf7b71f276a" providerId="ADAL" clId="{53886FC4-CEC3-49C2-A16F-E052A3E85A45}" dt="2020-03-18T02:36:51.350" v="5311" actId="20577"/>
          <ac:spMkLst>
            <pc:docMk/>
            <pc:sldMk cId="4030353435" sldId="1424"/>
            <ac:spMk id="2" creationId="{00000000-0000-0000-0000-000000000000}"/>
          </ac:spMkLst>
        </pc:spChg>
      </pc:sldChg>
      <pc:sldChg chg="modSp del mod">
        <pc:chgData name="Sam Mesel" userId="1ee7badb-5d1f-4872-89ae-dcf7b71f276a" providerId="ADAL" clId="{53886FC4-CEC3-49C2-A16F-E052A3E85A45}" dt="2020-03-18T14:20:08.319" v="5328" actId="47"/>
        <pc:sldMkLst>
          <pc:docMk/>
          <pc:sldMk cId="3723203944" sldId="1468"/>
        </pc:sldMkLst>
        <pc:spChg chg="mod">
          <ac:chgData name="Sam Mesel" userId="1ee7badb-5d1f-4872-89ae-dcf7b71f276a" providerId="ADAL" clId="{53886FC4-CEC3-49C2-A16F-E052A3E85A45}" dt="2020-03-18T02:37:31.957" v="5312" actId="14100"/>
          <ac:spMkLst>
            <pc:docMk/>
            <pc:sldMk cId="3723203944" sldId="1468"/>
            <ac:spMk id="76" creationId="{00000000-0000-0000-0000-000000000000}"/>
          </ac:spMkLst>
        </pc:spChg>
      </pc:sldChg>
      <pc:sldChg chg="modSp">
        <pc:chgData name="Sam Mesel" userId="1ee7badb-5d1f-4872-89ae-dcf7b71f276a" providerId="ADAL" clId="{53886FC4-CEC3-49C2-A16F-E052A3E85A45}" dt="2020-03-18T02:38:09.396" v="5313" actId="6549"/>
        <pc:sldMkLst>
          <pc:docMk/>
          <pc:sldMk cId="572847463" sldId="1469"/>
        </pc:sldMkLst>
        <pc:spChg chg="mod">
          <ac:chgData name="Sam Mesel" userId="1ee7badb-5d1f-4872-89ae-dcf7b71f276a" providerId="ADAL" clId="{53886FC4-CEC3-49C2-A16F-E052A3E85A45}" dt="2020-03-18T02:38:09.396" v="5313" actId="6549"/>
          <ac:spMkLst>
            <pc:docMk/>
            <pc:sldMk cId="572847463" sldId="1469"/>
            <ac:spMk id="215" creationId="{00000000-0000-0000-0000-000000000000}"/>
          </ac:spMkLst>
        </pc:spChg>
      </pc:sldChg>
      <pc:sldChg chg="del">
        <pc:chgData name="Sam Mesel" userId="1ee7badb-5d1f-4872-89ae-dcf7b71f276a" providerId="ADAL" clId="{53886FC4-CEC3-49C2-A16F-E052A3E85A45}" dt="2020-03-18T14:20:44.807" v="5329" actId="47"/>
        <pc:sldMkLst>
          <pc:docMk/>
          <pc:sldMk cId="2189172121" sldId="1474"/>
        </pc:sldMkLst>
      </pc:sldChg>
      <pc:sldChg chg="modSp del mod">
        <pc:chgData name="Sam Mesel" userId="1ee7badb-5d1f-4872-89ae-dcf7b71f276a" providerId="ADAL" clId="{53886FC4-CEC3-49C2-A16F-E052A3E85A45}" dt="2020-03-18T14:19:34.355" v="5327" actId="47"/>
        <pc:sldMkLst>
          <pc:docMk/>
          <pc:sldMk cId="4194733795" sldId="1475"/>
        </pc:sldMkLst>
        <pc:spChg chg="mod">
          <ac:chgData name="Sam Mesel" userId="1ee7badb-5d1f-4872-89ae-dcf7b71f276a" providerId="ADAL" clId="{53886FC4-CEC3-49C2-A16F-E052A3E85A45}" dt="2020-03-18T02:34:47.792" v="5298" actId="20577"/>
          <ac:spMkLst>
            <pc:docMk/>
            <pc:sldMk cId="4194733795" sldId="1475"/>
            <ac:spMk id="4" creationId="{D0A85AF3-31C4-498A-B822-6989BB131ACB}"/>
          </ac:spMkLst>
        </pc:spChg>
      </pc:sldChg>
      <pc:sldChg chg="modSp mod">
        <pc:chgData name="Sam Mesel" userId="1ee7badb-5d1f-4872-89ae-dcf7b71f276a" providerId="ADAL" clId="{53886FC4-CEC3-49C2-A16F-E052A3E85A45}" dt="2020-03-18T02:34:42.812" v="5296" actId="20577"/>
        <pc:sldMkLst>
          <pc:docMk/>
          <pc:sldMk cId="1951336761" sldId="1476"/>
        </pc:sldMkLst>
        <pc:spChg chg="mod">
          <ac:chgData name="Sam Mesel" userId="1ee7badb-5d1f-4872-89ae-dcf7b71f276a" providerId="ADAL" clId="{53886FC4-CEC3-49C2-A16F-E052A3E85A45}" dt="2020-03-18T02:34:42.812" v="5296" actId="20577"/>
          <ac:spMkLst>
            <pc:docMk/>
            <pc:sldMk cId="1951336761" sldId="1476"/>
            <ac:spMk id="2" creationId="{DB8CADE1-709D-4D38-B42A-B8361B4F37FA}"/>
          </ac:spMkLst>
        </pc:spChg>
      </pc:sldChg>
      <pc:sldChg chg="addSp delSp modSp add mod modAnim modNotesTx">
        <pc:chgData name="Sam Mesel" userId="1ee7badb-5d1f-4872-89ae-dcf7b71f276a" providerId="ADAL" clId="{53886FC4-CEC3-49C2-A16F-E052A3E85A45}" dt="2020-03-20T00:34:26.998" v="13040" actId="6549"/>
        <pc:sldMkLst>
          <pc:docMk/>
          <pc:sldMk cId="1716151462" sldId="1480"/>
        </pc:sldMkLst>
        <pc:picChg chg="add mod">
          <ac:chgData name="Sam Mesel" userId="1ee7badb-5d1f-4872-89ae-dcf7b71f276a" providerId="ADAL" clId="{53886FC4-CEC3-49C2-A16F-E052A3E85A45}" dt="2020-03-20T00:32:36.829" v="13038" actId="1076"/>
          <ac:picMkLst>
            <pc:docMk/>
            <pc:sldMk cId="1716151462" sldId="1480"/>
            <ac:picMk id="5" creationId="{C6ACE942-AA91-460D-B485-C74DF847A8EF}"/>
          </ac:picMkLst>
        </pc:picChg>
        <pc:picChg chg="add mod">
          <ac:chgData name="Sam Mesel" userId="1ee7badb-5d1f-4872-89ae-dcf7b71f276a" providerId="ADAL" clId="{53886FC4-CEC3-49C2-A16F-E052A3E85A45}" dt="2020-03-20T00:32:37.312" v="13039" actId="1076"/>
          <ac:picMkLst>
            <pc:docMk/>
            <pc:sldMk cId="1716151462" sldId="1480"/>
            <ac:picMk id="6" creationId="{2B21036A-6A87-46A8-B52B-6DE3841CAC38}"/>
          </ac:picMkLst>
        </pc:picChg>
        <pc:picChg chg="mod">
          <ac:chgData name="Sam Mesel" userId="1ee7badb-5d1f-4872-89ae-dcf7b71f276a" providerId="ADAL" clId="{53886FC4-CEC3-49C2-A16F-E052A3E85A45}" dt="2020-03-19T17:24:04.380" v="7562" actId="1076"/>
          <ac:picMkLst>
            <pc:docMk/>
            <pc:sldMk cId="1716151462" sldId="1480"/>
            <ac:picMk id="8" creationId="{CA17CF02-C4D1-4F45-A971-6277FA5FAAEA}"/>
          </ac:picMkLst>
        </pc:picChg>
        <pc:picChg chg="mod">
          <ac:chgData name="Sam Mesel" userId="1ee7badb-5d1f-4872-89ae-dcf7b71f276a" providerId="ADAL" clId="{53886FC4-CEC3-49C2-A16F-E052A3E85A45}" dt="2020-03-20T00:32:36.404" v="13037" actId="1076"/>
          <ac:picMkLst>
            <pc:docMk/>
            <pc:sldMk cId="1716151462" sldId="1480"/>
            <ac:picMk id="9" creationId="{18683C53-2448-4694-9CAD-BC92FAD0FCB2}"/>
          </ac:picMkLst>
        </pc:picChg>
        <pc:picChg chg="del mod">
          <ac:chgData name="Sam Mesel" userId="1ee7badb-5d1f-4872-89ae-dcf7b71f276a" providerId="ADAL" clId="{53886FC4-CEC3-49C2-A16F-E052A3E85A45}" dt="2020-03-19T17:23:08.484" v="7553" actId="478"/>
          <ac:picMkLst>
            <pc:docMk/>
            <pc:sldMk cId="1716151462" sldId="1480"/>
            <ac:picMk id="10" creationId="{15E1F92C-8A4F-4EFF-BA0F-AF20ECDF9FE5}"/>
          </ac:picMkLst>
        </pc:picChg>
        <pc:picChg chg="del mod ord">
          <ac:chgData name="Sam Mesel" userId="1ee7badb-5d1f-4872-89ae-dcf7b71f276a" providerId="ADAL" clId="{53886FC4-CEC3-49C2-A16F-E052A3E85A45}" dt="2020-03-19T17:26:01.101" v="7575" actId="478"/>
          <ac:picMkLst>
            <pc:docMk/>
            <pc:sldMk cId="1716151462" sldId="1480"/>
            <ac:picMk id="11" creationId="{04C12883-2F02-40DD-BBB4-21E766C8DC9B}"/>
          </ac:picMkLst>
        </pc:picChg>
      </pc:sldChg>
      <pc:sldChg chg="addSp delSp modSp add mod modAnim modNotesTx">
        <pc:chgData name="Sam Mesel" userId="1ee7badb-5d1f-4872-89ae-dcf7b71f276a" providerId="ADAL" clId="{53886FC4-CEC3-49C2-A16F-E052A3E85A45}" dt="2020-03-19T16:32:07.237" v="6613" actId="20577"/>
        <pc:sldMkLst>
          <pc:docMk/>
          <pc:sldMk cId="565001887" sldId="1481"/>
        </pc:sldMkLst>
        <pc:spChg chg="mod">
          <ac:chgData name="Sam Mesel" userId="1ee7badb-5d1f-4872-89ae-dcf7b71f276a" providerId="ADAL" clId="{53886FC4-CEC3-49C2-A16F-E052A3E85A45}" dt="2020-03-19T16:08:15.641" v="6055" actId="20577"/>
          <ac:spMkLst>
            <pc:docMk/>
            <pc:sldMk cId="565001887" sldId="1481"/>
            <ac:spMk id="3" creationId="{AE17EE2F-ED73-4227-9486-2486245C512D}"/>
          </ac:spMkLst>
        </pc:spChg>
        <pc:grpChg chg="mod">
          <ac:chgData name="Sam Mesel" userId="1ee7badb-5d1f-4872-89ae-dcf7b71f276a" providerId="ADAL" clId="{53886FC4-CEC3-49C2-A16F-E052A3E85A45}" dt="2020-03-19T16:26:21.963" v="6529" actId="18245"/>
          <ac:grpSpMkLst>
            <pc:docMk/>
            <pc:sldMk cId="565001887" sldId="1481"/>
            <ac:grpSpMk id="4" creationId="{28DE9482-8963-4341-BC59-26C2EAB8CF73}"/>
          </ac:grpSpMkLst>
        </pc:grpChg>
        <pc:graphicFrameChg chg="add del mod">
          <ac:chgData name="Sam Mesel" userId="1ee7badb-5d1f-4872-89ae-dcf7b71f276a" providerId="ADAL" clId="{53886FC4-CEC3-49C2-A16F-E052A3E85A45}" dt="2020-03-19T16:32:07.237" v="6613" actId="20577"/>
          <ac:graphicFrameMkLst>
            <pc:docMk/>
            <pc:sldMk cId="565001887" sldId="1481"/>
            <ac:graphicFrameMk id="5" creationId="{7D108DBB-E906-4DC1-A452-84D184316AB6}"/>
          </ac:graphicFrameMkLst>
        </pc:graphicFrameChg>
      </pc:sldChg>
      <pc:sldChg chg="del">
        <pc:chgData name="Sam Mesel" userId="1ee7badb-5d1f-4872-89ae-dcf7b71f276a" providerId="ADAL" clId="{53886FC4-CEC3-49C2-A16F-E052A3E85A45}" dt="2020-03-19T16:38:48.752" v="6805" actId="47"/>
        <pc:sldMkLst>
          <pc:docMk/>
          <pc:sldMk cId="177601937" sldId="1482"/>
        </pc:sldMkLst>
      </pc:sldChg>
      <pc:sldChg chg="addSp delSp modSp add mod">
        <pc:chgData name="Sam Mesel" userId="1ee7badb-5d1f-4872-89ae-dcf7b71f276a" providerId="ADAL" clId="{53886FC4-CEC3-49C2-A16F-E052A3E85A45}" dt="2020-03-19T16:49:59.547" v="6989" actId="20577"/>
        <pc:sldMkLst>
          <pc:docMk/>
          <pc:sldMk cId="179543186" sldId="1482"/>
        </pc:sldMkLst>
        <pc:spChg chg="mod">
          <ac:chgData name="Sam Mesel" userId="1ee7badb-5d1f-4872-89ae-dcf7b71f276a" providerId="ADAL" clId="{53886FC4-CEC3-49C2-A16F-E052A3E85A45}" dt="2020-03-19T16:45:19.037" v="6941" actId="20577"/>
          <ac:spMkLst>
            <pc:docMk/>
            <pc:sldMk cId="179543186" sldId="1482"/>
            <ac:spMk id="3" creationId="{F35E8CBB-5A7D-4DEF-BAF7-8DD5D042F9E0}"/>
          </ac:spMkLst>
        </pc:spChg>
        <pc:spChg chg="add del mod">
          <ac:chgData name="Sam Mesel" userId="1ee7badb-5d1f-4872-89ae-dcf7b71f276a" providerId="ADAL" clId="{53886FC4-CEC3-49C2-A16F-E052A3E85A45}" dt="2020-03-19T16:48:37.813" v="6952" actId="478"/>
          <ac:spMkLst>
            <pc:docMk/>
            <pc:sldMk cId="179543186" sldId="1482"/>
            <ac:spMk id="5" creationId="{889A782C-FEF2-47E2-8C96-96BD5AF4D4A6}"/>
          </ac:spMkLst>
        </pc:spChg>
        <pc:spChg chg="add del mod">
          <ac:chgData name="Sam Mesel" userId="1ee7badb-5d1f-4872-89ae-dcf7b71f276a" providerId="ADAL" clId="{53886FC4-CEC3-49C2-A16F-E052A3E85A45}" dt="2020-03-19T16:49:59.547" v="6989" actId="20577"/>
          <ac:spMkLst>
            <pc:docMk/>
            <pc:sldMk cId="179543186" sldId="1482"/>
            <ac:spMk id="12" creationId="{937A596A-4DB9-41DC-A815-80CF009972D6}"/>
          </ac:spMkLst>
        </pc:spChg>
        <pc:spChg chg="del mod">
          <ac:chgData name="Sam Mesel" userId="1ee7badb-5d1f-4872-89ae-dcf7b71f276a" providerId="ADAL" clId="{53886FC4-CEC3-49C2-A16F-E052A3E85A45}" dt="2020-03-19T16:48:45.575" v="6954" actId="478"/>
          <ac:spMkLst>
            <pc:docMk/>
            <pc:sldMk cId="179543186" sldId="1482"/>
            <ac:spMk id="13" creationId="{8460F7CC-1C4E-4F5E-B06C-7BD4D7AB1400}"/>
          </ac:spMkLst>
        </pc:spChg>
      </pc:sldChg>
      <pc:sldChg chg="modSp add mod ord modNotesTx">
        <pc:chgData name="Sam Mesel" userId="1ee7badb-5d1f-4872-89ae-dcf7b71f276a" providerId="ADAL" clId="{53886FC4-CEC3-49C2-A16F-E052A3E85A45}" dt="2020-03-19T17:18:12.879" v="7528" actId="6549"/>
        <pc:sldMkLst>
          <pc:docMk/>
          <pc:sldMk cId="2597649565" sldId="1483"/>
        </pc:sldMkLst>
        <pc:spChg chg="mod">
          <ac:chgData name="Sam Mesel" userId="1ee7badb-5d1f-4872-89ae-dcf7b71f276a" providerId="ADAL" clId="{53886FC4-CEC3-49C2-A16F-E052A3E85A45}" dt="2020-03-19T16:52:08.188" v="7043" actId="20577"/>
          <ac:spMkLst>
            <pc:docMk/>
            <pc:sldMk cId="2597649565" sldId="1483"/>
            <ac:spMk id="6" creationId="{637E159C-9ACF-48AE-927A-D5FB13695C7F}"/>
          </ac:spMkLst>
        </pc:spChg>
      </pc:sldChg>
      <pc:sldChg chg="modSp add mod modNotesTx">
        <pc:chgData name="Sam Mesel" userId="1ee7badb-5d1f-4872-89ae-dcf7b71f276a" providerId="ADAL" clId="{53886FC4-CEC3-49C2-A16F-E052A3E85A45}" dt="2020-03-20T00:37:39.854" v="13075" actId="6549"/>
        <pc:sldMkLst>
          <pc:docMk/>
          <pc:sldMk cId="3385827956" sldId="1484"/>
        </pc:sldMkLst>
        <pc:spChg chg="mod">
          <ac:chgData name="Sam Mesel" userId="1ee7badb-5d1f-4872-89ae-dcf7b71f276a" providerId="ADAL" clId="{53886FC4-CEC3-49C2-A16F-E052A3E85A45}" dt="2020-03-19T20:34:52.394" v="9332" actId="20577"/>
          <ac:spMkLst>
            <pc:docMk/>
            <pc:sldMk cId="3385827956" sldId="1484"/>
            <ac:spMk id="2" creationId="{EB67312A-9819-43C6-8D84-D9136E6CFFCC}"/>
          </ac:spMkLst>
        </pc:spChg>
        <pc:spChg chg="mod">
          <ac:chgData name="Sam Mesel" userId="1ee7badb-5d1f-4872-89ae-dcf7b71f276a" providerId="ADAL" clId="{53886FC4-CEC3-49C2-A16F-E052A3E85A45}" dt="2020-03-19T20:35:17.309" v="9369" actId="20577"/>
          <ac:spMkLst>
            <pc:docMk/>
            <pc:sldMk cId="3385827956" sldId="1484"/>
            <ac:spMk id="3" creationId="{F35E8CBB-5A7D-4DEF-BAF7-8DD5D042F9E0}"/>
          </ac:spMkLst>
        </pc:spChg>
      </pc:sldChg>
      <pc:sldChg chg="delSp modSp add del mod">
        <pc:chgData name="Sam Mesel" userId="1ee7badb-5d1f-4872-89ae-dcf7b71f276a" providerId="ADAL" clId="{53886FC4-CEC3-49C2-A16F-E052A3E85A45}" dt="2020-03-19T20:35:22.181" v="9370" actId="47"/>
        <pc:sldMkLst>
          <pc:docMk/>
          <pc:sldMk cId="2641531372" sldId="1485"/>
        </pc:sldMkLst>
        <pc:spChg chg="mod">
          <ac:chgData name="Sam Mesel" userId="1ee7badb-5d1f-4872-89ae-dcf7b71f276a" providerId="ADAL" clId="{53886FC4-CEC3-49C2-A16F-E052A3E85A45}" dt="2020-03-19T20:34:25.660" v="9292" actId="20577"/>
          <ac:spMkLst>
            <pc:docMk/>
            <pc:sldMk cId="2641531372" sldId="1485"/>
            <ac:spMk id="4" creationId="{F3616A99-090F-45E1-9334-58D58B148205}"/>
          </ac:spMkLst>
        </pc:spChg>
        <pc:picChg chg="del">
          <ac:chgData name="Sam Mesel" userId="1ee7badb-5d1f-4872-89ae-dcf7b71f276a" providerId="ADAL" clId="{53886FC4-CEC3-49C2-A16F-E052A3E85A45}" dt="2020-03-19T20:34:17.340" v="9285" actId="478"/>
          <ac:picMkLst>
            <pc:docMk/>
            <pc:sldMk cId="2641531372" sldId="1485"/>
            <ac:picMk id="7" creationId="{EEBE0237-40B2-4CDC-8D42-00FD97A57AEB}"/>
          </ac:picMkLst>
        </pc:picChg>
      </pc:sldChg>
      <pc:sldChg chg="addSp delSp modSp add mod delAnim modAnim modNotesTx">
        <pc:chgData name="Sam Mesel" userId="1ee7badb-5d1f-4872-89ae-dcf7b71f276a" providerId="ADAL" clId="{53886FC4-CEC3-49C2-A16F-E052A3E85A45}" dt="2020-03-20T00:37:48.198" v="13076" actId="6549"/>
        <pc:sldMkLst>
          <pc:docMk/>
          <pc:sldMk cId="3951487755" sldId="1485"/>
        </pc:sldMkLst>
        <pc:spChg chg="mod">
          <ac:chgData name="Sam Mesel" userId="1ee7badb-5d1f-4872-89ae-dcf7b71f276a" providerId="ADAL" clId="{53886FC4-CEC3-49C2-A16F-E052A3E85A45}" dt="2020-03-19T20:35:31.323" v="9375" actId="113"/>
          <ac:spMkLst>
            <pc:docMk/>
            <pc:sldMk cId="3951487755" sldId="1485"/>
            <ac:spMk id="3" creationId="{F35E8CBB-5A7D-4DEF-BAF7-8DD5D042F9E0}"/>
          </ac:spMkLst>
        </pc:spChg>
        <pc:spChg chg="del">
          <ac:chgData name="Sam Mesel" userId="1ee7badb-5d1f-4872-89ae-dcf7b71f276a" providerId="ADAL" clId="{53886FC4-CEC3-49C2-A16F-E052A3E85A45}" dt="2020-03-19T20:35:41.463" v="9377" actId="478"/>
          <ac:spMkLst>
            <pc:docMk/>
            <pc:sldMk cId="3951487755" sldId="1485"/>
            <ac:spMk id="4" creationId="{F3616A99-090F-45E1-9334-58D58B148205}"/>
          </ac:spMkLst>
        </pc:spChg>
        <pc:spChg chg="add del mod">
          <ac:chgData name="Sam Mesel" userId="1ee7badb-5d1f-4872-89ae-dcf7b71f276a" providerId="ADAL" clId="{53886FC4-CEC3-49C2-A16F-E052A3E85A45}" dt="2020-03-19T20:35:43.614" v="9378" actId="478"/>
          <ac:spMkLst>
            <pc:docMk/>
            <pc:sldMk cId="3951487755" sldId="1485"/>
            <ac:spMk id="6" creationId="{D9F53E2D-F7F4-424E-ABAE-01750C4740BD}"/>
          </ac:spMkLst>
        </pc:spChg>
        <pc:picChg chg="del">
          <ac:chgData name="Sam Mesel" userId="1ee7badb-5d1f-4872-89ae-dcf7b71f276a" providerId="ADAL" clId="{53886FC4-CEC3-49C2-A16F-E052A3E85A45}" dt="2020-03-19T20:35:34.842" v="9376" actId="478"/>
          <ac:picMkLst>
            <pc:docMk/>
            <pc:sldMk cId="3951487755" sldId="1485"/>
            <ac:picMk id="7" creationId="{EEBE0237-40B2-4CDC-8D42-00FD97A57AEB}"/>
          </ac:picMkLst>
        </pc:picChg>
        <pc:picChg chg="add mod">
          <ac:chgData name="Sam Mesel" userId="1ee7badb-5d1f-4872-89ae-dcf7b71f276a" providerId="ADAL" clId="{53886FC4-CEC3-49C2-A16F-E052A3E85A45}" dt="2020-03-19T20:40:08.404" v="9382" actId="1076"/>
          <ac:picMkLst>
            <pc:docMk/>
            <pc:sldMk cId="3951487755" sldId="1485"/>
            <ac:picMk id="8" creationId="{3158FC52-D673-43CA-86CE-208CAC593995}"/>
          </ac:picMkLst>
        </pc:picChg>
        <pc:picChg chg="add mod">
          <ac:chgData name="Sam Mesel" userId="1ee7badb-5d1f-4872-89ae-dcf7b71f276a" providerId="ADAL" clId="{53886FC4-CEC3-49C2-A16F-E052A3E85A45}" dt="2020-03-19T20:41:52.725" v="9392" actId="14100"/>
          <ac:picMkLst>
            <pc:docMk/>
            <pc:sldMk cId="3951487755" sldId="1485"/>
            <ac:picMk id="9" creationId="{598D7AD3-CDD2-4AA1-B681-2AAF317180C3}"/>
          </ac:picMkLst>
        </pc:picChg>
        <pc:picChg chg="add mod">
          <ac:chgData name="Sam Mesel" userId="1ee7badb-5d1f-4872-89ae-dcf7b71f276a" providerId="ADAL" clId="{53886FC4-CEC3-49C2-A16F-E052A3E85A45}" dt="2020-03-19T20:42:10.863" v="9395" actId="14100"/>
          <ac:picMkLst>
            <pc:docMk/>
            <pc:sldMk cId="3951487755" sldId="1485"/>
            <ac:picMk id="10" creationId="{289DC0B7-019A-47E6-AE53-E0140F0ADAEA}"/>
          </ac:picMkLst>
        </pc:picChg>
        <pc:picChg chg="add mod">
          <ac:chgData name="Sam Mesel" userId="1ee7badb-5d1f-4872-89ae-dcf7b71f276a" providerId="ADAL" clId="{53886FC4-CEC3-49C2-A16F-E052A3E85A45}" dt="2020-03-19T20:43:05.508" v="9403" actId="1037"/>
          <ac:picMkLst>
            <pc:docMk/>
            <pc:sldMk cId="3951487755" sldId="1485"/>
            <ac:picMk id="11" creationId="{1ABC6BA9-BC8C-4795-9E1B-2FB021C16353}"/>
          </ac:picMkLst>
        </pc:picChg>
        <pc:picChg chg="add mod">
          <ac:chgData name="Sam Mesel" userId="1ee7badb-5d1f-4872-89ae-dcf7b71f276a" providerId="ADAL" clId="{53886FC4-CEC3-49C2-A16F-E052A3E85A45}" dt="2020-03-19T20:44:26.772" v="9416" actId="1582"/>
          <ac:picMkLst>
            <pc:docMk/>
            <pc:sldMk cId="3951487755" sldId="1485"/>
            <ac:picMk id="12" creationId="{3DBE03BE-0F65-440B-B99C-6A017775B24A}"/>
          </ac:picMkLst>
        </pc:picChg>
        <pc:picChg chg="add mod">
          <ac:chgData name="Sam Mesel" userId="1ee7badb-5d1f-4872-89ae-dcf7b71f276a" providerId="ADAL" clId="{53886FC4-CEC3-49C2-A16F-E052A3E85A45}" dt="2020-03-19T20:45:40.525" v="9423" actId="14100"/>
          <ac:picMkLst>
            <pc:docMk/>
            <pc:sldMk cId="3951487755" sldId="1485"/>
            <ac:picMk id="13" creationId="{EECFA39C-6655-4DA6-94A8-084FB1344A85}"/>
          </ac:picMkLst>
        </pc:picChg>
        <pc:picChg chg="add del mod">
          <ac:chgData name="Sam Mesel" userId="1ee7badb-5d1f-4872-89ae-dcf7b71f276a" providerId="ADAL" clId="{53886FC4-CEC3-49C2-A16F-E052A3E85A45}" dt="2020-03-19T20:48:09.086" v="9430" actId="478"/>
          <ac:picMkLst>
            <pc:docMk/>
            <pc:sldMk cId="3951487755" sldId="1485"/>
            <ac:picMk id="14" creationId="{C01287A0-3E0B-42E1-80B1-CDC624EF3876}"/>
          </ac:picMkLst>
        </pc:picChg>
        <pc:picChg chg="add mod">
          <ac:chgData name="Sam Mesel" userId="1ee7badb-5d1f-4872-89ae-dcf7b71f276a" providerId="ADAL" clId="{53886FC4-CEC3-49C2-A16F-E052A3E85A45}" dt="2020-03-19T20:48:19.339" v="9433" actId="1582"/>
          <ac:picMkLst>
            <pc:docMk/>
            <pc:sldMk cId="3951487755" sldId="1485"/>
            <ac:picMk id="15" creationId="{0D13DC96-43D3-4C75-857A-91CFE7095D46}"/>
          </ac:picMkLst>
        </pc:picChg>
        <pc:picChg chg="add mod">
          <ac:chgData name="Sam Mesel" userId="1ee7badb-5d1f-4872-89ae-dcf7b71f276a" providerId="ADAL" clId="{53886FC4-CEC3-49C2-A16F-E052A3E85A45}" dt="2020-03-19T20:49:14.646" v="9436" actId="1076"/>
          <ac:picMkLst>
            <pc:docMk/>
            <pc:sldMk cId="3951487755" sldId="1485"/>
            <ac:picMk id="16" creationId="{9246ED2F-3D04-4663-8CF5-D89A5532C0C2}"/>
          </ac:picMkLst>
        </pc:picChg>
      </pc:sldChg>
      <pc:sldChg chg="modSp add mod ord modNotesTx">
        <pc:chgData name="Sam Mesel" userId="1ee7badb-5d1f-4872-89ae-dcf7b71f276a" providerId="ADAL" clId="{53886FC4-CEC3-49C2-A16F-E052A3E85A45}" dt="2020-03-19T20:57:14.004" v="10341" actId="20577"/>
        <pc:sldMkLst>
          <pc:docMk/>
          <pc:sldMk cId="1619754780" sldId="1486"/>
        </pc:sldMkLst>
        <pc:spChg chg="mod">
          <ac:chgData name="Sam Mesel" userId="1ee7badb-5d1f-4872-89ae-dcf7b71f276a" providerId="ADAL" clId="{53886FC4-CEC3-49C2-A16F-E052A3E85A45}" dt="2020-03-19T20:50:39.947" v="9456" actId="20577"/>
          <ac:spMkLst>
            <pc:docMk/>
            <pc:sldMk cId="1619754780" sldId="1486"/>
            <ac:spMk id="3" creationId="{8F64A22E-2B43-4FC6-AF08-0CDB3F9E9269}"/>
          </ac:spMkLst>
        </pc:spChg>
        <pc:spChg chg="mod">
          <ac:chgData name="Sam Mesel" userId="1ee7badb-5d1f-4872-89ae-dcf7b71f276a" providerId="ADAL" clId="{53886FC4-CEC3-49C2-A16F-E052A3E85A45}" dt="2020-03-19T20:51:01.489" v="9507" actId="20577"/>
          <ac:spMkLst>
            <pc:docMk/>
            <pc:sldMk cId="1619754780" sldId="1486"/>
            <ac:spMk id="6" creationId="{637E159C-9ACF-48AE-927A-D5FB13695C7F}"/>
          </ac:spMkLst>
        </pc:spChg>
      </pc:sldChg>
      <pc:sldChg chg="addSp delSp modSp add mod ord delAnim modAnim modNotesTx">
        <pc:chgData name="Sam Mesel" userId="1ee7badb-5d1f-4872-89ae-dcf7b71f276a" providerId="ADAL" clId="{53886FC4-CEC3-49C2-A16F-E052A3E85A45}" dt="2020-03-20T17:03:55.150" v="15712" actId="14100"/>
        <pc:sldMkLst>
          <pc:docMk/>
          <pc:sldMk cId="2984945502" sldId="1487"/>
        </pc:sldMkLst>
        <pc:spChg chg="mod">
          <ac:chgData name="Sam Mesel" userId="1ee7badb-5d1f-4872-89ae-dcf7b71f276a" providerId="ADAL" clId="{53886FC4-CEC3-49C2-A16F-E052A3E85A45}" dt="2020-03-19T20:58:28.962" v="10383" actId="20577"/>
          <ac:spMkLst>
            <pc:docMk/>
            <pc:sldMk cId="2984945502" sldId="1487"/>
            <ac:spMk id="2" creationId="{EB67312A-9819-43C6-8D84-D9136E6CFFCC}"/>
          </ac:spMkLst>
        </pc:spChg>
        <pc:spChg chg="mod">
          <ac:chgData name="Sam Mesel" userId="1ee7badb-5d1f-4872-89ae-dcf7b71f276a" providerId="ADAL" clId="{53886FC4-CEC3-49C2-A16F-E052A3E85A45}" dt="2020-03-19T20:59:09.611" v="10393" actId="6549"/>
          <ac:spMkLst>
            <pc:docMk/>
            <pc:sldMk cId="2984945502" sldId="1487"/>
            <ac:spMk id="3" creationId="{F35E8CBB-5A7D-4DEF-BAF7-8DD5D042F9E0}"/>
          </ac:spMkLst>
        </pc:spChg>
        <pc:spChg chg="del mod">
          <ac:chgData name="Sam Mesel" userId="1ee7badb-5d1f-4872-89ae-dcf7b71f276a" providerId="ADAL" clId="{53886FC4-CEC3-49C2-A16F-E052A3E85A45}" dt="2020-03-19T21:17:29.226" v="10986" actId="12084"/>
          <ac:spMkLst>
            <pc:docMk/>
            <pc:sldMk cId="2984945502" sldId="1487"/>
            <ac:spMk id="4" creationId="{F3616A99-090F-45E1-9334-58D58B148205}"/>
          </ac:spMkLst>
        </pc:spChg>
        <pc:spChg chg="del">
          <ac:chgData name="Sam Mesel" userId="1ee7badb-5d1f-4872-89ae-dcf7b71f276a" providerId="ADAL" clId="{53886FC4-CEC3-49C2-A16F-E052A3E85A45}" dt="2020-03-19T20:58:38.289" v="10390" actId="478"/>
          <ac:spMkLst>
            <pc:docMk/>
            <pc:sldMk cId="2984945502" sldId="1487"/>
            <ac:spMk id="8" creationId="{B7F42196-B19A-45D5-8701-DDEEE8A0CAFC}"/>
          </ac:spMkLst>
        </pc:spChg>
        <pc:spChg chg="del">
          <ac:chgData name="Sam Mesel" userId="1ee7badb-5d1f-4872-89ae-dcf7b71f276a" providerId="ADAL" clId="{53886FC4-CEC3-49C2-A16F-E052A3E85A45}" dt="2020-03-19T20:58:35.024" v="10386" actId="478"/>
          <ac:spMkLst>
            <pc:docMk/>
            <pc:sldMk cId="2984945502" sldId="1487"/>
            <ac:spMk id="9" creationId="{333692B9-A6C7-4345-B524-524D730239FB}"/>
          </ac:spMkLst>
        </pc:spChg>
        <pc:spChg chg="del">
          <ac:chgData name="Sam Mesel" userId="1ee7badb-5d1f-4872-89ae-dcf7b71f276a" providerId="ADAL" clId="{53886FC4-CEC3-49C2-A16F-E052A3E85A45}" dt="2020-03-19T20:58:35.517" v="10387" actId="478"/>
          <ac:spMkLst>
            <pc:docMk/>
            <pc:sldMk cId="2984945502" sldId="1487"/>
            <ac:spMk id="10" creationId="{01E93ACD-DF4D-496D-A8A8-246AC021620C}"/>
          </ac:spMkLst>
        </pc:spChg>
        <pc:spChg chg="del mod">
          <ac:chgData name="Sam Mesel" userId="1ee7badb-5d1f-4872-89ae-dcf7b71f276a" providerId="ADAL" clId="{53886FC4-CEC3-49C2-A16F-E052A3E85A45}" dt="2020-03-19T20:58:37.275" v="10389" actId="478"/>
          <ac:spMkLst>
            <pc:docMk/>
            <pc:sldMk cId="2984945502" sldId="1487"/>
            <ac:spMk id="11" creationId="{E6CF9367-AD31-496C-AB69-9762DAFE0BAE}"/>
          </ac:spMkLst>
        </pc:spChg>
        <pc:graphicFrameChg chg="del mod">
          <ac:chgData name="Sam Mesel" userId="1ee7badb-5d1f-4872-89ae-dcf7b71f276a" providerId="ADAL" clId="{53886FC4-CEC3-49C2-A16F-E052A3E85A45}" dt="2020-03-19T20:58:33.740" v="10385" actId="478"/>
          <ac:graphicFrameMkLst>
            <pc:docMk/>
            <pc:sldMk cId="2984945502" sldId="1487"/>
            <ac:graphicFrameMk id="5" creationId="{FA1968C2-B16A-474E-93B5-3D1165E85003}"/>
          </ac:graphicFrameMkLst>
        </pc:graphicFrameChg>
        <pc:graphicFrameChg chg="add mod">
          <ac:chgData name="Sam Mesel" userId="1ee7badb-5d1f-4872-89ae-dcf7b71f276a" providerId="ADAL" clId="{53886FC4-CEC3-49C2-A16F-E052A3E85A45}" dt="2020-03-20T17:03:55.150" v="15712" actId="14100"/>
          <ac:graphicFrameMkLst>
            <pc:docMk/>
            <pc:sldMk cId="2984945502" sldId="1487"/>
            <ac:graphicFrameMk id="6" creationId="{8E394C2A-1356-4FF1-B4AC-C37B3D8D3A89}"/>
          </ac:graphicFrameMkLst>
        </pc:graphicFrameChg>
      </pc:sldChg>
      <pc:sldChg chg="addSp delSp modSp add mod modNotesTx">
        <pc:chgData name="Sam Mesel" userId="1ee7badb-5d1f-4872-89ae-dcf7b71f276a" providerId="ADAL" clId="{53886FC4-CEC3-49C2-A16F-E052A3E85A45}" dt="2020-03-20T17:04:09.124" v="15717" actId="20577"/>
        <pc:sldMkLst>
          <pc:docMk/>
          <pc:sldMk cId="1346224666" sldId="1488"/>
        </pc:sldMkLst>
        <pc:spChg chg="mod">
          <ac:chgData name="Sam Mesel" userId="1ee7badb-5d1f-4872-89ae-dcf7b71f276a" providerId="ADAL" clId="{53886FC4-CEC3-49C2-A16F-E052A3E85A45}" dt="2020-03-19T21:22:59.349" v="11165" actId="20577"/>
          <ac:spMkLst>
            <pc:docMk/>
            <pc:sldMk cId="1346224666" sldId="1488"/>
            <ac:spMk id="3" creationId="{F35E8CBB-5A7D-4DEF-BAF7-8DD5D042F9E0}"/>
          </ac:spMkLst>
        </pc:spChg>
        <pc:spChg chg="del mod">
          <ac:chgData name="Sam Mesel" userId="1ee7badb-5d1f-4872-89ae-dcf7b71f276a" providerId="ADAL" clId="{53886FC4-CEC3-49C2-A16F-E052A3E85A45}" dt="2020-03-19T21:23:05.431" v="11167" actId="478"/>
          <ac:spMkLst>
            <pc:docMk/>
            <pc:sldMk cId="1346224666" sldId="1488"/>
            <ac:spMk id="4" creationId="{F3616A99-090F-45E1-9334-58D58B148205}"/>
          </ac:spMkLst>
        </pc:spChg>
        <pc:spChg chg="add del mod">
          <ac:chgData name="Sam Mesel" userId="1ee7badb-5d1f-4872-89ae-dcf7b71f276a" providerId="ADAL" clId="{53886FC4-CEC3-49C2-A16F-E052A3E85A45}" dt="2020-03-19T21:23:07.107" v="11168" actId="478"/>
          <ac:spMkLst>
            <pc:docMk/>
            <pc:sldMk cId="1346224666" sldId="1488"/>
            <ac:spMk id="6" creationId="{456305D4-4FDF-4132-A5A2-82B04D688266}"/>
          </ac:spMkLst>
        </pc:spChg>
        <pc:graphicFrameChg chg="add mod modGraphic">
          <ac:chgData name="Sam Mesel" userId="1ee7badb-5d1f-4872-89ae-dcf7b71f276a" providerId="ADAL" clId="{53886FC4-CEC3-49C2-A16F-E052A3E85A45}" dt="2020-03-19T21:27:33.833" v="11657" actId="12385"/>
          <ac:graphicFrameMkLst>
            <pc:docMk/>
            <pc:sldMk cId="1346224666" sldId="1488"/>
            <ac:graphicFrameMk id="7" creationId="{0209C660-8EB9-40EC-A494-C81B64DB7263}"/>
          </ac:graphicFrameMkLst>
        </pc:graphicFrameChg>
      </pc:sldChg>
      <pc:sldChg chg="addSp delSp modSp add mod modNotesTx">
        <pc:chgData name="Sam Mesel" userId="1ee7badb-5d1f-4872-89ae-dcf7b71f276a" providerId="ADAL" clId="{53886FC4-CEC3-49C2-A16F-E052A3E85A45}" dt="2020-03-19T21:38:04.642" v="11755" actId="1076"/>
        <pc:sldMkLst>
          <pc:docMk/>
          <pc:sldMk cId="2854760315" sldId="1489"/>
        </pc:sldMkLst>
        <pc:spChg chg="mod">
          <ac:chgData name="Sam Mesel" userId="1ee7badb-5d1f-4872-89ae-dcf7b71f276a" providerId="ADAL" clId="{53886FC4-CEC3-49C2-A16F-E052A3E85A45}" dt="2020-03-19T21:29:03.088" v="11699" actId="20577"/>
          <ac:spMkLst>
            <pc:docMk/>
            <pc:sldMk cId="2854760315" sldId="1489"/>
            <ac:spMk id="3" creationId="{F35E8CBB-5A7D-4DEF-BAF7-8DD5D042F9E0}"/>
          </ac:spMkLst>
        </pc:spChg>
        <pc:spChg chg="add del mod">
          <ac:chgData name="Sam Mesel" userId="1ee7badb-5d1f-4872-89ae-dcf7b71f276a" providerId="ADAL" clId="{53886FC4-CEC3-49C2-A16F-E052A3E85A45}" dt="2020-03-19T21:32:44.394" v="11707" actId="12084"/>
          <ac:spMkLst>
            <pc:docMk/>
            <pc:sldMk cId="2854760315" sldId="1489"/>
            <ac:spMk id="5" creationId="{D7284A06-D2D7-48B4-911C-B16DB25AC091}"/>
          </ac:spMkLst>
        </pc:spChg>
        <pc:graphicFrameChg chg="add mod">
          <ac:chgData name="Sam Mesel" userId="1ee7badb-5d1f-4872-89ae-dcf7b71f276a" providerId="ADAL" clId="{53886FC4-CEC3-49C2-A16F-E052A3E85A45}" dt="2020-03-19T21:35:21.794" v="11749" actId="20577"/>
          <ac:graphicFrameMkLst>
            <pc:docMk/>
            <pc:sldMk cId="2854760315" sldId="1489"/>
            <ac:graphicFrameMk id="4" creationId="{8E6A15FB-C436-4785-ACB8-B812481A9D36}"/>
          </ac:graphicFrameMkLst>
        </pc:graphicFrameChg>
        <pc:graphicFrameChg chg="del">
          <ac:chgData name="Sam Mesel" userId="1ee7badb-5d1f-4872-89ae-dcf7b71f276a" providerId="ADAL" clId="{53886FC4-CEC3-49C2-A16F-E052A3E85A45}" dt="2020-03-19T21:29:08.063" v="11700" actId="478"/>
          <ac:graphicFrameMkLst>
            <pc:docMk/>
            <pc:sldMk cId="2854760315" sldId="1489"/>
            <ac:graphicFrameMk id="7" creationId="{0209C660-8EB9-40EC-A494-C81B64DB7263}"/>
          </ac:graphicFrameMkLst>
        </pc:graphicFrameChg>
        <pc:picChg chg="add mod">
          <ac:chgData name="Sam Mesel" userId="1ee7badb-5d1f-4872-89ae-dcf7b71f276a" providerId="ADAL" clId="{53886FC4-CEC3-49C2-A16F-E052A3E85A45}" dt="2020-03-19T21:38:04.642" v="11755" actId="1076"/>
          <ac:picMkLst>
            <pc:docMk/>
            <pc:sldMk cId="2854760315" sldId="1489"/>
            <ac:picMk id="6" creationId="{3C33C3A5-8431-4009-8766-CEB49CCBADEC}"/>
          </ac:picMkLst>
        </pc:picChg>
      </pc:sldChg>
      <pc:sldChg chg="modSp add mod ord modNotesTx">
        <pc:chgData name="Sam Mesel" userId="1ee7badb-5d1f-4872-89ae-dcf7b71f276a" providerId="ADAL" clId="{53886FC4-CEC3-49C2-A16F-E052A3E85A45}" dt="2020-03-19T21:43:43.390" v="11927" actId="20577"/>
        <pc:sldMkLst>
          <pc:docMk/>
          <pc:sldMk cId="1932756397" sldId="1490"/>
        </pc:sldMkLst>
        <pc:spChg chg="mod">
          <ac:chgData name="Sam Mesel" userId="1ee7badb-5d1f-4872-89ae-dcf7b71f276a" providerId="ADAL" clId="{53886FC4-CEC3-49C2-A16F-E052A3E85A45}" dt="2020-03-19T21:39:02.231" v="11795" actId="20577"/>
          <ac:spMkLst>
            <pc:docMk/>
            <pc:sldMk cId="1932756397" sldId="1490"/>
            <ac:spMk id="6" creationId="{637E159C-9ACF-48AE-927A-D5FB13695C7F}"/>
          </ac:spMkLst>
        </pc:spChg>
      </pc:sldChg>
      <pc:sldChg chg="addSp delSp modSp add mod ord">
        <pc:chgData name="Sam Mesel" userId="1ee7badb-5d1f-4872-89ae-dcf7b71f276a" providerId="ADAL" clId="{53886FC4-CEC3-49C2-A16F-E052A3E85A45}" dt="2020-03-20T17:41:50.887" v="15786" actId="20577"/>
        <pc:sldMkLst>
          <pc:docMk/>
          <pc:sldMk cId="2378945749" sldId="1491"/>
        </pc:sldMkLst>
        <pc:spChg chg="mod">
          <ac:chgData name="Sam Mesel" userId="1ee7badb-5d1f-4872-89ae-dcf7b71f276a" providerId="ADAL" clId="{53886FC4-CEC3-49C2-A16F-E052A3E85A45}" dt="2020-03-20T00:40:31.659" v="13101" actId="20577"/>
          <ac:spMkLst>
            <pc:docMk/>
            <pc:sldMk cId="2378945749" sldId="1491"/>
            <ac:spMk id="2" creationId="{EB67312A-9819-43C6-8D84-D9136E6CFFCC}"/>
          </ac:spMkLst>
        </pc:spChg>
        <pc:spChg chg="mod">
          <ac:chgData name="Sam Mesel" userId="1ee7badb-5d1f-4872-89ae-dcf7b71f276a" providerId="ADAL" clId="{53886FC4-CEC3-49C2-A16F-E052A3E85A45}" dt="2020-03-20T00:40:47.168" v="13132" actId="20577"/>
          <ac:spMkLst>
            <pc:docMk/>
            <pc:sldMk cId="2378945749" sldId="1491"/>
            <ac:spMk id="3" creationId="{F35E8CBB-5A7D-4DEF-BAF7-8DD5D042F9E0}"/>
          </ac:spMkLst>
        </pc:spChg>
        <pc:spChg chg="add mod">
          <ac:chgData name="Sam Mesel" userId="1ee7badb-5d1f-4872-89ae-dcf7b71f276a" providerId="ADAL" clId="{53886FC4-CEC3-49C2-A16F-E052A3E85A45}" dt="2020-03-20T14:57:53.732" v="13280" actId="20577"/>
          <ac:spMkLst>
            <pc:docMk/>
            <pc:sldMk cId="2378945749" sldId="1491"/>
            <ac:spMk id="5" creationId="{14A2538D-0515-4508-B6B4-89744A2416D4}"/>
          </ac:spMkLst>
        </pc:spChg>
        <pc:graphicFrameChg chg="mod">
          <ac:chgData name="Sam Mesel" userId="1ee7badb-5d1f-4872-89ae-dcf7b71f276a" providerId="ADAL" clId="{53886FC4-CEC3-49C2-A16F-E052A3E85A45}" dt="2020-03-20T17:41:50.887" v="15786" actId="20577"/>
          <ac:graphicFrameMkLst>
            <pc:docMk/>
            <pc:sldMk cId="2378945749" sldId="1491"/>
            <ac:graphicFrameMk id="4" creationId="{8E6A15FB-C436-4785-ACB8-B812481A9D36}"/>
          </ac:graphicFrameMkLst>
        </pc:graphicFrameChg>
        <pc:picChg chg="del">
          <ac:chgData name="Sam Mesel" userId="1ee7badb-5d1f-4872-89ae-dcf7b71f276a" providerId="ADAL" clId="{53886FC4-CEC3-49C2-A16F-E052A3E85A45}" dt="2020-03-20T00:40:51.049" v="13133" actId="478"/>
          <ac:picMkLst>
            <pc:docMk/>
            <pc:sldMk cId="2378945749" sldId="1491"/>
            <ac:picMk id="6" creationId="{3C33C3A5-8431-4009-8766-CEB49CCBADEC}"/>
          </ac:picMkLst>
        </pc:picChg>
      </pc:sldChg>
      <pc:sldChg chg="addSp delSp modSp add mod modAnim modNotesTx">
        <pc:chgData name="Sam Mesel" userId="1ee7badb-5d1f-4872-89ae-dcf7b71f276a" providerId="ADAL" clId="{53886FC4-CEC3-49C2-A16F-E052A3E85A45}" dt="2020-03-20T16:15:27.782" v="13562"/>
        <pc:sldMkLst>
          <pc:docMk/>
          <pc:sldMk cId="116317705" sldId="1492"/>
        </pc:sldMkLst>
        <pc:spChg chg="mod">
          <ac:chgData name="Sam Mesel" userId="1ee7badb-5d1f-4872-89ae-dcf7b71f276a" providerId="ADAL" clId="{53886FC4-CEC3-49C2-A16F-E052A3E85A45}" dt="2020-03-20T14:58:37.041" v="13296" actId="20577"/>
          <ac:spMkLst>
            <pc:docMk/>
            <pc:sldMk cId="116317705" sldId="1492"/>
            <ac:spMk id="3" creationId="{F35E8CBB-5A7D-4DEF-BAF7-8DD5D042F9E0}"/>
          </ac:spMkLst>
        </pc:spChg>
        <pc:spChg chg="mod">
          <ac:chgData name="Sam Mesel" userId="1ee7badb-5d1f-4872-89ae-dcf7b71f276a" providerId="ADAL" clId="{53886FC4-CEC3-49C2-A16F-E052A3E85A45}" dt="2020-03-20T14:58:43.005" v="13298" actId="20577"/>
          <ac:spMkLst>
            <pc:docMk/>
            <pc:sldMk cId="116317705" sldId="1492"/>
            <ac:spMk id="5" creationId="{14A2538D-0515-4508-B6B4-89744A2416D4}"/>
          </ac:spMkLst>
        </pc:spChg>
        <pc:spChg chg="add del mod">
          <ac:chgData name="Sam Mesel" userId="1ee7badb-5d1f-4872-89ae-dcf7b71f276a" providerId="ADAL" clId="{53886FC4-CEC3-49C2-A16F-E052A3E85A45}" dt="2020-03-20T14:58:53.794" v="13301" actId="478"/>
          <ac:spMkLst>
            <pc:docMk/>
            <pc:sldMk cId="116317705" sldId="1492"/>
            <ac:spMk id="7" creationId="{FCCD7D99-3D86-4736-AA6D-59E48B11B3A5}"/>
          </ac:spMkLst>
        </pc:spChg>
        <pc:graphicFrameChg chg="del mod">
          <ac:chgData name="Sam Mesel" userId="1ee7badb-5d1f-4872-89ae-dcf7b71f276a" providerId="ADAL" clId="{53886FC4-CEC3-49C2-A16F-E052A3E85A45}" dt="2020-03-20T14:58:50.845" v="13300" actId="478"/>
          <ac:graphicFrameMkLst>
            <pc:docMk/>
            <pc:sldMk cId="116317705" sldId="1492"/>
            <ac:graphicFrameMk id="4" creationId="{8E6A15FB-C436-4785-ACB8-B812481A9D36}"/>
          </ac:graphicFrameMkLst>
        </pc:graphicFrameChg>
        <pc:graphicFrameChg chg="add mod">
          <ac:chgData name="Sam Mesel" userId="1ee7badb-5d1f-4872-89ae-dcf7b71f276a" providerId="ADAL" clId="{53886FC4-CEC3-49C2-A16F-E052A3E85A45}" dt="2020-03-20T16:11:11.917" v="13536" actId="20577"/>
          <ac:graphicFrameMkLst>
            <pc:docMk/>
            <pc:sldMk cId="116317705" sldId="1492"/>
            <ac:graphicFrameMk id="9" creationId="{F7CC1D9E-88F5-456E-993A-578CEA5E3534}"/>
          </ac:graphicFrameMkLst>
        </pc:graphicFrameChg>
        <pc:picChg chg="add del mod">
          <ac:chgData name="Sam Mesel" userId="1ee7badb-5d1f-4872-89ae-dcf7b71f276a" providerId="ADAL" clId="{53886FC4-CEC3-49C2-A16F-E052A3E85A45}" dt="2020-03-20T16:11:24.916" v="13537" actId="478"/>
          <ac:picMkLst>
            <pc:docMk/>
            <pc:sldMk cId="116317705" sldId="1492"/>
            <ac:picMk id="8" creationId="{37ACC84D-8648-40B4-8313-C53665B66CD7}"/>
          </ac:picMkLst>
        </pc:picChg>
        <pc:picChg chg="add mod">
          <ac:chgData name="Sam Mesel" userId="1ee7badb-5d1f-4872-89ae-dcf7b71f276a" providerId="ADAL" clId="{53886FC4-CEC3-49C2-A16F-E052A3E85A45}" dt="2020-03-20T16:11:50.563" v="13541" actId="1076"/>
          <ac:picMkLst>
            <pc:docMk/>
            <pc:sldMk cId="116317705" sldId="1492"/>
            <ac:picMk id="10" creationId="{E5A948F9-B172-4676-BDC8-E281FFBBF462}"/>
          </ac:picMkLst>
        </pc:picChg>
        <pc:picChg chg="add mod">
          <ac:chgData name="Sam Mesel" userId="1ee7badb-5d1f-4872-89ae-dcf7b71f276a" providerId="ADAL" clId="{53886FC4-CEC3-49C2-A16F-E052A3E85A45}" dt="2020-03-20T16:13:00.574" v="13548" actId="14100"/>
          <ac:picMkLst>
            <pc:docMk/>
            <pc:sldMk cId="116317705" sldId="1492"/>
            <ac:picMk id="11" creationId="{6F33B460-00DC-40C3-BB96-387B47A576D4}"/>
          </ac:picMkLst>
        </pc:picChg>
        <pc:picChg chg="add mod">
          <ac:chgData name="Sam Mesel" userId="1ee7badb-5d1f-4872-89ae-dcf7b71f276a" providerId="ADAL" clId="{53886FC4-CEC3-49C2-A16F-E052A3E85A45}" dt="2020-03-20T16:14:04.803" v="13557" actId="14100"/>
          <ac:picMkLst>
            <pc:docMk/>
            <pc:sldMk cId="116317705" sldId="1492"/>
            <ac:picMk id="12" creationId="{1706F4B2-09D1-4326-B10B-8907142EF541}"/>
          </ac:picMkLst>
        </pc:picChg>
      </pc:sldChg>
      <pc:sldChg chg="add">
        <pc:chgData name="Sam Mesel" userId="1ee7badb-5d1f-4872-89ae-dcf7b71f276a" providerId="ADAL" clId="{53886FC4-CEC3-49C2-A16F-E052A3E85A45}" dt="2020-03-20T16:32:39.724" v="14977"/>
        <pc:sldMkLst>
          <pc:docMk/>
          <pc:sldMk cId="161408009" sldId="1493"/>
        </pc:sldMkLst>
      </pc:sldChg>
      <pc:sldChg chg="delSp modSp add mod ord modNotesTx">
        <pc:chgData name="Sam Mesel" userId="1ee7badb-5d1f-4872-89ae-dcf7b71f276a" providerId="ADAL" clId="{53886FC4-CEC3-49C2-A16F-E052A3E85A45}" dt="2020-03-20T17:42:43.200" v="15788"/>
        <pc:sldMkLst>
          <pc:docMk/>
          <pc:sldMk cId="594598944" sldId="1494"/>
        </pc:sldMkLst>
        <pc:spChg chg="mod">
          <ac:chgData name="Sam Mesel" userId="1ee7badb-5d1f-4872-89ae-dcf7b71f276a" providerId="ADAL" clId="{53886FC4-CEC3-49C2-A16F-E052A3E85A45}" dt="2020-03-20T16:49:14.205" v="15606" actId="20577"/>
          <ac:spMkLst>
            <pc:docMk/>
            <pc:sldMk cId="594598944" sldId="1494"/>
            <ac:spMk id="3" creationId="{F35E8CBB-5A7D-4DEF-BAF7-8DD5D042F9E0}"/>
          </ac:spMkLst>
        </pc:spChg>
        <pc:spChg chg="del mod">
          <ac:chgData name="Sam Mesel" userId="1ee7badb-5d1f-4872-89ae-dcf7b71f276a" providerId="ADAL" clId="{53886FC4-CEC3-49C2-A16F-E052A3E85A45}" dt="2020-03-20T16:53:54.202" v="15676" actId="478"/>
          <ac:spMkLst>
            <pc:docMk/>
            <pc:sldMk cId="594598944" sldId="1494"/>
            <ac:spMk id="4" creationId="{F3616A99-090F-45E1-9334-58D58B148205}"/>
          </ac:spMkLst>
        </pc:spChg>
        <pc:graphicFrameChg chg="mod">
          <ac:chgData name="Sam Mesel" userId="1ee7badb-5d1f-4872-89ae-dcf7b71f276a" providerId="ADAL" clId="{53886FC4-CEC3-49C2-A16F-E052A3E85A45}" dt="2020-03-20T16:56:13.166" v="15694" actId="20577"/>
          <ac:graphicFrameMkLst>
            <pc:docMk/>
            <pc:sldMk cId="594598944" sldId="1494"/>
            <ac:graphicFrameMk id="6" creationId="{ECD4F830-3F57-4416-97C9-3E857291381E}"/>
          </ac:graphicFrameMkLst>
        </pc:graphicFrameChg>
      </pc:sldChg>
      <pc:sldChg chg="addSp delSp modSp add mod delAnim modAnim modNotesTx">
        <pc:chgData name="Sam Mesel" userId="1ee7badb-5d1f-4872-89ae-dcf7b71f276a" providerId="ADAL" clId="{53886FC4-CEC3-49C2-A16F-E052A3E85A45}" dt="2020-03-20T17:51:14.533" v="15917" actId="20577"/>
        <pc:sldMkLst>
          <pc:docMk/>
          <pc:sldMk cId="2244982301" sldId="1495"/>
        </pc:sldMkLst>
        <pc:spChg chg="mod">
          <ac:chgData name="Sam Mesel" userId="1ee7badb-5d1f-4872-89ae-dcf7b71f276a" providerId="ADAL" clId="{53886FC4-CEC3-49C2-A16F-E052A3E85A45}" dt="2020-03-20T17:45:54.186" v="15814" actId="20577"/>
          <ac:spMkLst>
            <pc:docMk/>
            <pc:sldMk cId="2244982301" sldId="1495"/>
            <ac:spMk id="2" creationId="{23F20CDD-4226-4ADB-949D-67D9A9B704BA}"/>
          </ac:spMkLst>
        </pc:spChg>
        <pc:spChg chg="mod">
          <ac:chgData name="Sam Mesel" userId="1ee7badb-5d1f-4872-89ae-dcf7b71f276a" providerId="ADAL" clId="{53886FC4-CEC3-49C2-A16F-E052A3E85A45}" dt="2020-03-20T17:45:50.698" v="15813" actId="20577"/>
          <ac:spMkLst>
            <pc:docMk/>
            <pc:sldMk cId="2244982301" sldId="1495"/>
            <ac:spMk id="3" creationId="{9CAAEC61-74EA-4B3E-B3DB-D6B83A64237B}"/>
          </ac:spMkLst>
        </pc:spChg>
        <pc:spChg chg="add del mod">
          <ac:chgData name="Sam Mesel" userId="1ee7badb-5d1f-4872-89ae-dcf7b71f276a" providerId="ADAL" clId="{53886FC4-CEC3-49C2-A16F-E052A3E85A45}" dt="2020-03-20T17:47:30.424" v="15826" actId="478"/>
          <ac:spMkLst>
            <pc:docMk/>
            <pc:sldMk cId="2244982301" sldId="1495"/>
            <ac:spMk id="4" creationId="{BD9463E7-E791-48BE-A52E-B4857A9B7FBF}"/>
          </ac:spMkLst>
        </pc:spChg>
        <pc:spChg chg="add del mod">
          <ac:chgData name="Sam Mesel" userId="1ee7badb-5d1f-4872-89ae-dcf7b71f276a" providerId="ADAL" clId="{53886FC4-CEC3-49C2-A16F-E052A3E85A45}" dt="2020-03-20T17:47:30.424" v="15826" actId="478"/>
          <ac:spMkLst>
            <pc:docMk/>
            <pc:sldMk cId="2244982301" sldId="1495"/>
            <ac:spMk id="7" creationId="{25B9E181-D3E3-4639-B5A8-4323687C801F}"/>
          </ac:spMkLst>
        </pc:spChg>
        <pc:spChg chg="add del mod">
          <ac:chgData name="Sam Mesel" userId="1ee7badb-5d1f-4872-89ae-dcf7b71f276a" providerId="ADAL" clId="{53886FC4-CEC3-49C2-A16F-E052A3E85A45}" dt="2020-03-20T17:47:30.424" v="15826" actId="478"/>
          <ac:spMkLst>
            <pc:docMk/>
            <pc:sldMk cId="2244982301" sldId="1495"/>
            <ac:spMk id="8" creationId="{60FC86EA-99FB-402C-8166-9A476D5A9D90}"/>
          </ac:spMkLst>
        </pc:spChg>
        <pc:spChg chg="add del mod">
          <ac:chgData name="Sam Mesel" userId="1ee7badb-5d1f-4872-89ae-dcf7b71f276a" providerId="ADAL" clId="{53886FC4-CEC3-49C2-A16F-E052A3E85A45}" dt="2020-03-20T17:47:35.697" v="15827" actId="478"/>
          <ac:spMkLst>
            <pc:docMk/>
            <pc:sldMk cId="2244982301" sldId="1495"/>
            <ac:spMk id="10" creationId="{83D61E40-BC33-436B-93F8-1AF262F1B4BD}"/>
          </ac:spMkLst>
        </pc:spChg>
        <pc:spChg chg="add">
          <ac:chgData name="Sam Mesel" userId="1ee7badb-5d1f-4872-89ae-dcf7b71f276a" providerId="ADAL" clId="{53886FC4-CEC3-49C2-A16F-E052A3E85A45}" dt="2020-03-20T17:47:52.329" v="15829"/>
          <ac:spMkLst>
            <pc:docMk/>
            <pc:sldMk cId="2244982301" sldId="1495"/>
            <ac:spMk id="11" creationId="{71738D4B-0C1A-4024-AD61-6CE4F80871CA}"/>
          </ac:spMkLst>
        </pc:spChg>
        <pc:spChg chg="add mod">
          <ac:chgData name="Sam Mesel" userId="1ee7badb-5d1f-4872-89ae-dcf7b71f276a" providerId="ADAL" clId="{53886FC4-CEC3-49C2-A16F-E052A3E85A45}" dt="2020-03-20T17:48:48.376" v="15854" actId="1037"/>
          <ac:spMkLst>
            <pc:docMk/>
            <pc:sldMk cId="2244982301" sldId="1495"/>
            <ac:spMk id="12" creationId="{548D8D29-123C-425B-AFEA-93D6A0F3F9DB}"/>
          </ac:spMkLst>
        </pc:spChg>
        <pc:spChg chg="add mod">
          <ac:chgData name="Sam Mesel" userId="1ee7badb-5d1f-4872-89ae-dcf7b71f276a" providerId="ADAL" clId="{53886FC4-CEC3-49C2-A16F-E052A3E85A45}" dt="2020-03-20T17:48:48.376" v="15854" actId="1037"/>
          <ac:spMkLst>
            <pc:docMk/>
            <pc:sldMk cId="2244982301" sldId="1495"/>
            <ac:spMk id="13" creationId="{BB98DF72-5340-4154-9BA3-9D4723BA7AD3}"/>
          </ac:spMkLst>
        </pc:spChg>
        <pc:spChg chg="add mod">
          <ac:chgData name="Sam Mesel" userId="1ee7badb-5d1f-4872-89ae-dcf7b71f276a" providerId="ADAL" clId="{53886FC4-CEC3-49C2-A16F-E052A3E85A45}" dt="2020-03-20T17:49:41.389" v="15857" actId="14100"/>
          <ac:spMkLst>
            <pc:docMk/>
            <pc:sldMk cId="2244982301" sldId="1495"/>
            <ac:spMk id="14" creationId="{94375CDB-4D25-4791-B0E9-47734DA6E76C}"/>
          </ac:spMkLst>
        </pc:spChg>
        <pc:spChg chg="add mod">
          <ac:chgData name="Sam Mesel" userId="1ee7badb-5d1f-4872-89ae-dcf7b71f276a" providerId="ADAL" clId="{53886FC4-CEC3-49C2-A16F-E052A3E85A45}" dt="2020-03-20T17:50:25.246" v="15912" actId="20577"/>
          <ac:spMkLst>
            <pc:docMk/>
            <pc:sldMk cId="2244982301" sldId="1495"/>
            <ac:spMk id="15" creationId="{73D3CAC2-28CD-4BE9-879F-A554617DC5BB}"/>
          </ac:spMkLst>
        </pc:spChg>
        <pc:spChg chg="add mod">
          <ac:chgData name="Sam Mesel" userId="1ee7badb-5d1f-4872-89ae-dcf7b71f276a" providerId="ADAL" clId="{53886FC4-CEC3-49C2-A16F-E052A3E85A45}" dt="2020-03-20T17:48:48.376" v="15854" actId="1037"/>
          <ac:spMkLst>
            <pc:docMk/>
            <pc:sldMk cId="2244982301" sldId="1495"/>
            <ac:spMk id="16" creationId="{4477E1B5-BC29-448E-9927-EC1E3D7880AC}"/>
          </ac:spMkLst>
        </pc:spChg>
        <pc:spChg chg="add mod">
          <ac:chgData name="Sam Mesel" userId="1ee7badb-5d1f-4872-89ae-dcf7b71f276a" providerId="ADAL" clId="{53886FC4-CEC3-49C2-A16F-E052A3E85A45}" dt="2020-03-20T17:48:48.376" v="15854" actId="1037"/>
          <ac:spMkLst>
            <pc:docMk/>
            <pc:sldMk cId="2244982301" sldId="1495"/>
            <ac:spMk id="17" creationId="{F452DC59-3C48-498C-9462-F82B4048DE45}"/>
          </ac:spMkLst>
        </pc:spChg>
        <pc:spChg chg="add mod">
          <ac:chgData name="Sam Mesel" userId="1ee7badb-5d1f-4872-89ae-dcf7b71f276a" providerId="ADAL" clId="{53886FC4-CEC3-49C2-A16F-E052A3E85A45}" dt="2020-03-20T17:48:15.319" v="15833" actId="1037"/>
          <ac:spMkLst>
            <pc:docMk/>
            <pc:sldMk cId="2244982301" sldId="1495"/>
            <ac:spMk id="18" creationId="{2FBACE00-682D-4A91-BF45-6B72C89EFADF}"/>
          </ac:spMkLst>
        </pc:spChg>
        <pc:spChg chg="add mod">
          <ac:chgData name="Sam Mesel" userId="1ee7badb-5d1f-4872-89ae-dcf7b71f276a" providerId="ADAL" clId="{53886FC4-CEC3-49C2-A16F-E052A3E85A45}" dt="2020-03-20T17:48:28.167" v="15835" actId="1036"/>
          <ac:spMkLst>
            <pc:docMk/>
            <pc:sldMk cId="2244982301" sldId="1495"/>
            <ac:spMk id="19" creationId="{60DE5650-A2C4-4721-BBA8-A539CAC4165D}"/>
          </ac:spMkLst>
        </pc:spChg>
        <pc:spChg chg="add del">
          <ac:chgData name="Sam Mesel" userId="1ee7badb-5d1f-4872-89ae-dcf7b71f276a" providerId="ADAL" clId="{53886FC4-CEC3-49C2-A16F-E052A3E85A45}" dt="2020-03-20T17:47:59.411" v="15830" actId="478"/>
          <ac:spMkLst>
            <pc:docMk/>
            <pc:sldMk cId="2244982301" sldId="1495"/>
            <ac:spMk id="20" creationId="{F2F19D60-16B2-4857-BB8B-BADAC5D93D31}"/>
          </ac:spMkLst>
        </pc:spChg>
        <pc:spChg chg="add mod">
          <ac:chgData name="Sam Mesel" userId="1ee7badb-5d1f-4872-89ae-dcf7b71f276a" providerId="ADAL" clId="{53886FC4-CEC3-49C2-A16F-E052A3E85A45}" dt="2020-03-20T17:51:14.533" v="15917" actId="20577"/>
          <ac:spMkLst>
            <pc:docMk/>
            <pc:sldMk cId="2244982301" sldId="1495"/>
            <ac:spMk id="22" creationId="{AFE113AE-2D33-49AC-AC5F-6C8AD8A7D88D}"/>
          </ac:spMkLst>
        </pc:spChg>
        <pc:graphicFrameChg chg="del mod">
          <ac:chgData name="Sam Mesel" userId="1ee7badb-5d1f-4872-89ae-dcf7b71f276a" providerId="ADAL" clId="{53886FC4-CEC3-49C2-A16F-E052A3E85A45}" dt="2020-03-20T17:47:30.424" v="15826" actId="478"/>
          <ac:graphicFrameMkLst>
            <pc:docMk/>
            <pc:sldMk cId="2244982301" sldId="1495"/>
            <ac:graphicFrameMk id="5" creationId="{A0F8EEBB-1F60-49BA-B82D-D4F2B222B4C1}"/>
          </ac:graphicFrameMkLst>
        </pc:graphicFrameChg>
      </pc:sldChg>
      <pc:sldChg chg="addSp delSp modSp add mod delAnim modAnim">
        <pc:chgData name="Sam Mesel" userId="1ee7badb-5d1f-4872-89ae-dcf7b71f276a" providerId="ADAL" clId="{53886FC4-CEC3-49C2-A16F-E052A3E85A45}" dt="2020-03-20T17:55:28.032" v="15979" actId="14100"/>
        <pc:sldMkLst>
          <pc:docMk/>
          <pc:sldMk cId="2660728281" sldId="1496"/>
        </pc:sldMkLst>
        <pc:spChg chg="mod">
          <ac:chgData name="Sam Mesel" userId="1ee7badb-5d1f-4872-89ae-dcf7b71f276a" providerId="ADAL" clId="{53886FC4-CEC3-49C2-A16F-E052A3E85A45}" dt="2020-03-20T17:52:45.060" v="15938" actId="20577"/>
          <ac:spMkLst>
            <pc:docMk/>
            <pc:sldMk cId="2660728281" sldId="1496"/>
            <ac:spMk id="3" creationId="{9CAAEC61-74EA-4B3E-B3DB-D6B83A64237B}"/>
          </ac:spMkLst>
        </pc:spChg>
        <pc:spChg chg="del">
          <ac:chgData name="Sam Mesel" userId="1ee7badb-5d1f-4872-89ae-dcf7b71f276a" providerId="ADAL" clId="{53886FC4-CEC3-49C2-A16F-E052A3E85A45}" dt="2020-03-20T17:53:13.736" v="15943" actId="478"/>
          <ac:spMkLst>
            <pc:docMk/>
            <pc:sldMk cId="2660728281" sldId="1496"/>
            <ac:spMk id="11" creationId="{71738D4B-0C1A-4024-AD61-6CE4F80871CA}"/>
          </ac:spMkLst>
        </pc:spChg>
        <pc:spChg chg="del">
          <ac:chgData name="Sam Mesel" userId="1ee7badb-5d1f-4872-89ae-dcf7b71f276a" providerId="ADAL" clId="{53886FC4-CEC3-49C2-A16F-E052A3E85A45}" dt="2020-03-20T17:53:02.473" v="15941" actId="478"/>
          <ac:spMkLst>
            <pc:docMk/>
            <pc:sldMk cId="2660728281" sldId="1496"/>
            <ac:spMk id="12" creationId="{548D8D29-123C-425B-AFEA-93D6A0F3F9DB}"/>
          </ac:spMkLst>
        </pc:spChg>
        <pc:spChg chg="del">
          <ac:chgData name="Sam Mesel" userId="1ee7badb-5d1f-4872-89ae-dcf7b71f276a" providerId="ADAL" clId="{53886FC4-CEC3-49C2-A16F-E052A3E85A45}" dt="2020-03-20T17:53:02.473" v="15941" actId="478"/>
          <ac:spMkLst>
            <pc:docMk/>
            <pc:sldMk cId="2660728281" sldId="1496"/>
            <ac:spMk id="13" creationId="{BB98DF72-5340-4154-9BA3-9D4723BA7AD3}"/>
          </ac:spMkLst>
        </pc:spChg>
        <pc:spChg chg="del">
          <ac:chgData name="Sam Mesel" userId="1ee7badb-5d1f-4872-89ae-dcf7b71f276a" providerId="ADAL" clId="{53886FC4-CEC3-49C2-A16F-E052A3E85A45}" dt="2020-03-20T17:53:08.984" v="15942" actId="478"/>
          <ac:spMkLst>
            <pc:docMk/>
            <pc:sldMk cId="2660728281" sldId="1496"/>
            <ac:spMk id="14" creationId="{94375CDB-4D25-4791-B0E9-47734DA6E76C}"/>
          </ac:spMkLst>
        </pc:spChg>
        <pc:spChg chg="del">
          <ac:chgData name="Sam Mesel" userId="1ee7badb-5d1f-4872-89ae-dcf7b71f276a" providerId="ADAL" clId="{53886FC4-CEC3-49C2-A16F-E052A3E85A45}" dt="2020-03-20T17:53:15.673" v="15944" actId="478"/>
          <ac:spMkLst>
            <pc:docMk/>
            <pc:sldMk cId="2660728281" sldId="1496"/>
            <ac:spMk id="15" creationId="{73D3CAC2-28CD-4BE9-879F-A554617DC5BB}"/>
          </ac:spMkLst>
        </pc:spChg>
        <pc:spChg chg="del">
          <ac:chgData name="Sam Mesel" userId="1ee7badb-5d1f-4872-89ae-dcf7b71f276a" providerId="ADAL" clId="{53886FC4-CEC3-49C2-A16F-E052A3E85A45}" dt="2020-03-20T17:53:02.473" v="15941" actId="478"/>
          <ac:spMkLst>
            <pc:docMk/>
            <pc:sldMk cId="2660728281" sldId="1496"/>
            <ac:spMk id="16" creationId="{4477E1B5-BC29-448E-9927-EC1E3D7880AC}"/>
          </ac:spMkLst>
        </pc:spChg>
        <pc:spChg chg="del">
          <ac:chgData name="Sam Mesel" userId="1ee7badb-5d1f-4872-89ae-dcf7b71f276a" providerId="ADAL" clId="{53886FC4-CEC3-49C2-A16F-E052A3E85A45}" dt="2020-03-20T17:53:02.473" v="15941" actId="478"/>
          <ac:spMkLst>
            <pc:docMk/>
            <pc:sldMk cId="2660728281" sldId="1496"/>
            <ac:spMk id="17" creationId="{F452DC59-3C48-498C-9462-F82B4048DE45}"/>
          </ac:spMkLst>
        </pc:spChg>
        <pc:spChg chg="del">
          <ac:chgData name="Sam Mesel" userId="1ee7badb-5d1f-4872-89ae-dcf7b71f276a" providerId="ADAL" clId="{53886FC4-CEC3-49C2-A16F-E052A3E85A45}" dt="2020-03-20T17:53:02.473" v="15941" actId="478"/>
          <ac:spMkLst>
            <pc:docMk/>
            <pc:sldMk cId="2660728281" sldId="1496"/>
            <ac:spMk id="18" creationId="{2FBACE00-682D-4A91-BF45-6B72C89EFADF}"/>
          </ac:spMkLst>
        </pc:spChg>
        <pc:spChg chg="del">
          <ac:chgData name="Sam Mesel" userId="1ee7badb-5d1f-4872-89ae-dcf7b71f276a" providerId="ADAL" clId="{53886FC4-CEC3-49C2-A16F-E052A3E85A45}" dt="2020-03-20T17:53:02.473" v="15941" actId="478"/>
          <ac:spMkLst>
            <pc:docMk/>
            <pc:sldMk cId="2660728281" sldId="1496"/>
            <ac:spMk id="19" creationId="{60DE5650-A2C4-4721-BBA8-A539CAC4165D}"/>
          </ac:spMkLst>
        </pc:spChg>
        <pc:spChg chg="add mod">
          <ac:chgData name="Sam Mesel" userId="1ee7badb-5d1f-4872-89ae-dcf7b71f276a" providerId="ADAL" clId="{53886FC4-CEC3-49C2-A16F-E052A3E85A45}" dt="2020-03-20T17:55:28.032" v="15979" actId="14100"/>
          <ac:spMkLst>
            <pc:docMk/>
            <pc:sldMk cId="2660728281" sldId="1496"/>
            <ac:spMk id="20" creationId="{47FAF5BB-7AC3-4E99-80DB-B1D7FA61730A}"/>
          </ac:spMkLst>
        </pc:spChg>
        <pc:spChg chg="add">
          <ac:chgData name="Sam Mesel" userId="1ee7badb-5d1f-4872-89ae-dcf7b71f276a" providerId="ADAL" clId="{53886FC4-CEC3-49C2-A16F-E052A3E85A45}" dt="2020-03-20T17:53:25.530" v="15945"/>
          <ac:spMkLst>
            <pc:docMk/>
            <pc:sldMk cId="2660728281" sldId="1496"/>
            <ac:spMk id="21" creationId="{FC60D860-2C09-4EE8-843F-50FD4CC213A2}"/>
          </ac:spMkLst>
        </pc:spChg>
        <pc:spChg chg="mod">
          <ac:chgData name="Sam Mesel" userId="1ee7badb-5d1f-4872-89ae-dcf7b71f276a" providerId="ADAL" clId="{53886FC4-CEC3-49C2-A16F-E052A3E85A45}" dt="2020-03-20T17:52:55.225" v="15940" actId="20577"/>
          <ac:spMkLst>
            <pc:docMk/>
            <pc:sldMk cId="2660728281" sldId="1496"/>
            <ac:spMk id="22" creationId="{AFE113AE-2D33-49AC-AC5F-6C8AD8A7D88D}"/>
          </ac:spMkLst>
        </pc:spChg>
        <pc:spChg chg="add">
          <ac:chgData name="Sam Mesel" userId="1ee7badb-5d1f-4872-89ae-dcf7b71f276a" providerId="ADAL" clId="{53886FC4-CEC3-49C2-A16F-E052A3E85A45}" dt="2020-03-20T17:53:25.530" v="15945"/>
          <ac:spMkLst>
            <pc:docMk/>
            <pc:sldMk cId="2660728281" sldId="1496"/>
            <ac:spMk id="23" creationId="{CE35D496-28E6-41C7-8A62-20A4167AAFA6}"/>
          </ac:spMkLst>
        </pc:spChg>
        <pc:spChg chg="add">
          <ac:chgData name="Sam Mesel" userId="1ee7badb-5d1f-4872-89ae-dcf7b71f276a" providerId="ADAL" clId="{53886FC4-CEC3-49C2-A16F-E052A3E85A45}" dt="2020-03-20T17:53:25.530" v="15945"/>
          <ac:spMkLst>
            <pc:docMk/>
            <pc:sldMk cId="2660728281" sldId="1496"/>
            <ac:spMk id="24" creationId="{E3A1952C-6BC1-4632-A61F-E20C70EE7593}"/>
          </ac:spMkLst>
        </pc:spChg>
        <pc:spChg chg="add">
          <ac:chgData name="Sam Mesel" userId="1ee7badb-5d1f-4872-89ae-dcf7b71f276a" providerId="ADAL" clId="{53886FC4-CEC3-49C2-A16F-E052A3E85A45}" dt="2020-03-20T17:53:25.530" v="15945"/>
          <ac:spMkLst>
            <pc:docMk/>
            <pc:sldMk cId="2660728281" sldId="1496"/>
            <ac:spMk id="25" creationId="{F17240AB-8716-4930-B86F-CC5998D4FB27}"/>
          </ac:spMkLst>
        </pc:spChg>
        <pc:spChg chg="add mod">
          <ac:chgData name="Sam Mesel" userId="1ee7badb-5d1f-4872-89ae-dcf7b71f276a" providerId="ADAL" clId="{53886FC4-CEC3-49C2-A16F-E052A3E85A45}" dt="2020-03-20T17:55:19.311" v="15978" actId="1037"/>
          <ac:spMkLst>
            <pc:docMk/>
            <pc:sldMk cId="2660728281" sldId="1496"/>
            <ac:spMk id="26" creationId="{B01FCAC5-2FB8-4F7D-8BD5-2D18A08A6F2B}"/>
          </ac:spMkLst>
        </pc:spChg>
        <pc:spChg chg="add mod">
          <ac:chgData name="Sam Mesel" userId="1ee7badb-5d1f-4872-89ae-dcf7b71f276a" providerId="ADAL" clId="{53886FC4-CEC3-49C2-A16F-E052A3E85A45}" dt="2020-03-20T17:55:19.311" v="15978" actId="1037"/>
          <ac:spMkLst>
            <pc:docMk/>
            <pc:sldMk cId="2660728281" sldId="1496"/>
            <ac:spMk id="27" creationId="{D1C427F4-9E28-4FF6-A93A-E21EFBB1826E}"/>
          </ac:spMkLst>
        </pc:spChg>
        <pc:spChg chg="add mod">
          <ac:chgData name="Sam Mesel" userId="1ee7badb-5d1f-4872-89ae-dcf7b71f276a" providerId="ADAL" clId="{53886FC4-CEC3-49C2-A16F-E052A3E85A45}" dt="2020-03-20T17:55:19.311" v="15978" actId="1037"/>
          <ac:spMkLst>
            <pc:docMk/>
            <pc:sldMk cId="2660728281" sldId="1496"/>
            <ac:spMk id="28" creationId="{4D390A33-5E69-444A-A60D-E6452535296E}"/>
          </ac:spMkLst>
        </pc:spChg>
        <pc:spChg chg="add mod">
          <ac:chgData name="Sam Mesel" userId="1ee7badb-5d1f-4872-89ae-dcf7b71f276a" providerId="ADAL" clId="{53886FC4-CEC3-49C2-A16F-E052A3E85A45}" dt="2020-03-20T17:55:19.311" v="15978" actId="1037"/>
          <ac:spMkLst>
            <pc:docMk/>
            <pc:sldMk cId="2660728281" sldId="1496"/>
            <ac:spMk id="29" creationId="{0C3A8C6D-0A41-4CFD-A28A-AC6D1618B26D}"/>
          </ac:spMkLst>
        </pc:spChg>
        <pc:spChg chg="add">
          <ac:chgData name="Sam Mesel" userId="1ee7badb-5d1f-4872-89ae-dcf7b71f276a" providerId="ADAL" clId="{53886FC4-CEC3-49C2-A16F-E052A3E85A45}" dt="2020-03-20T17:53:25.530" v="15945"/>
          <ac:spMkLst>
            <pc:docMk/>
            <pc:sldMk cId="2660728281" sldId="1496"/>
            <ac:spMk id="30" creationId="{19C30440-8201-48BA-8AC6-D269C45A73B6}"/>
          </ac:spMkLst>
        </pc:spChg>
        <pc:spChg chg="add mod">
          <ac:chgData name="Sam Mesel" userId="1ee7badb-5d1f-4872-89ae-dcf7b71f276a" providerId="ADAL" clId="{53886FC4-CEC3-49C2-A16F-E052A3E85A45}" dt="2020-03-20T17:55:19.311" v="15978" actId="1037"/>
          <ac:spMkLst>
            <pc:docMk/>
            <pc:sldMk cId="2660728281" sldId="1496"/>
            <ac:spMk id="31" creationId="{039913EF-FFF1-47D9-9024-27E93F05485B}"/>
          </ac:spMkLst>
        </pc:spChg>
        <pc:spChg chg="add del">
          <ac:chgData name="Sam Mesel" userId="1ee7badb-5d1f-4872-89ae-dcf7b71f276a" providerId="ADAL" clId="{53886FC4-CEC3-49C2-A16F-E052A3E85A45}" dt="2020-03-20T17:54:48.147" v="15966" actId="478"/>
          <ac:spMkLst>
            <pc:docMk/>
            <pc:sldMk cId="2660728281" sldId="1496"/>
            <ac:spMk id="32" creationId="{A49AAC9F-843F-473D-803C-42587C3775DC}"/>
          </ac:spMkLst>
        </pc:spChg>
      </pc:sldChg>
      <pc:sldChg chg="addSp delSp modSp add mod delAnim modAnim modNotesTx">
        <pc:chgData name="Sam Mesel" userId="1ee7badb-5d1f-4872-89ae-dcf7b71f276a" providerId="ADAL" clId="{53886FC4-CEC3-49C2-A16F-E052A3E85A45}" dt="2020-03-20T17:57:26.459" v="16001" actId="14100"/>
        <pc:sldMkLst>
          <pc:docMk/>
          <pc:sldMk cId="764427157" sldId="1497"/>
        </pc:sldMkLst>
        <pc:spChg chg="mod">
          <ac:chgData name="Sam Mesel" userId="1ee7badb-5d1f-4872-89ae-dcf7b71f276a" providerId="ADAL" clId="{53886FC4-CEC3-49C2-A16F-E052A3E85A45}" dt="2020-03-20T17:56:13.829" v="15989" actId="6549"/>
          <ac:spMkLst>
            <pc:docMk/>
            <pc:sldMk cId="764427157" sldId="1497"/>
            <ac:spMk id="3" creationId="{9CAAEC61-74EA-4B3E-B3DB-D6B83A64237B}"/>
          </ac:spMkLst>
        </pc:spChg>
        <pc:spChg chg="add del">
          <ac:chgData name="Sam Mesel" userId="1ee7badb-5d1f-4872-89ae-dcf7b71f276a" providerId="ADAL" clId="{53886FC4-CEC3-49C2-A16F-E052A3E85A45}" dt="2020-03-20T17:56:43.934" v="15995"/>
          <ac:spMkLst>
            <pc:docMk/>
            <pc:sldMk cId="764427157" sldId="1497"/>
            <ac:spMk id="16" creationId="{A9447395-7DE6-4345-9AF0-1A4C6EE702AD}"/>
          </ac:spMkLst>
        </pc:spChg>
        <pc:spChg chg="add del">
          <ac:chgData name="Sam Mesel" userId="1ee7badb-5d1f-4872-89ae-dcf7b71f276a" providerId="ADAL" clId="{53886FC4-CEC3-49C2-A16F-E052A3E85A45}" dt="2020-03-20T17:57:04.790" v="15997"/>
          <ac:spMkLst>
            <pc:docMk/>
            <pc:sldMk cId="764427157" sldId="1497"/>
            <ac:spMk id="17" creationId="{32172AAE-A73A-432E-BCA1-186629067B5A}"/>
          </ac:spMkLst>
        </pc:spChg>
        <pc:spChg chg="add del">
          <ac:chgData name="Sam Mesel" userId="1ee7badb-5d1f-4872-89ae-dcf7b71f276a" providerId="ADAL" clId="{53886FC4-CEC3-49C2-A16F-E052A3E85A45}" dt="2020-03-20T17:57:04.790" v="15997"/>
          <ac:spMkLst>
            <pc:docMk/>
            <pc:sldMk cId="764427157" sldId="1497"/>
            <ac:spMk id="18" creationId="{45287FDC-0804-4BE8-8B98-1660CD7A9005}"/>
          </ac:spMkLst>
        </pc:spChg>
        <pc:spChg chg="add">
          <ac:chgData name="Sam Mesel" userId="1ee7badb-5d1f-4872-89ae-dcf7b71f276a" providerId="ADAL" clId="{53886FC4-CEC3-49C2-A16F-E052A3E85A45}" dt="2020-03-20T17:57:10.512" v="15998"/>
          <ac:spMkLst>
            <pc:docMk/>
            <pc:sldMk cId="764427157" sldId="1497"/>
            <ac:spMk id="19" creationId="{7CF084F0-001A-4CCA-899B-4D8B63A2CACB}"/>
          </ac:spMkLst>
        </pc:spChg>
        <pc:spChg chg="del">
          <ac:chgData name="Sam Mesel" userId="1ee7badb-5d1f-4872-89ae-dcf7b71f276a" providerId="ADAL" clId="{53886FC4-CEC3-49C2-A16F-E052A3E85A45}" dt="2020-03-20T17:56:27.582" v="15992" actId="478"/>
          <ac:spMkLst>
            <pc:docMk/>
            <pc:sldMk cId="764427157" sldId="1497"/>
            <ac:spMk id="20" creationId="{47FAF5BB-7AC3-4E99-80DB-B1D7FA61730A}"/>
          </ac:spMkLst>
        </pc:spChg>
        <pc:spChg chg="del">
          <ac:chgData name="Sam Mesel" userId="1ee7badb-5d1f-4872-89ae-dcf7b71f276a" providerId="ADAL" clId="{53886FC4-CEC3-49C2-A16F-E052A3E85A45}" dt="2020-03-20T17:56:27.582" v="15992" actId="478"/>
          <ac:spMkLst>
            <pc:docMk/>
            <pc:sldMk cId="764427157" sldId="1497"/>
            <ac:spMk id="21" creationId="{FC60D860-2C09-4EE8-843F-50FD4CC213A2}"/>
          </ac:spMkLst>
        </pc:spChg>
        <pc:spChg chg="mod">
          <ac:chgData name="Sam Mesel" userId="1ee7badb-5d1f-4872-89ae-dcf7b71f276a" providerId="ADAL" clId="{53886FC4-CEC3-49C2-A16F-E052A3E85A45}" dt="2020-03-20T17:56:20.957" v="15991" actId="20577"/>
          <ac:spMkLst>
            <pc:docMk/>
            <pc:sldMk cId="764427157" sldId="1497"/>
            <ac:spMk id="22" creationId="{AFE113AE-2D33-49AC-AC5F-6C8AD8A7D88D}"/>
          </ac:spMkLst>
        </pc:spChg>
        <pc:spChg chg="del">
          <ac:chgData name="Sam Mesel" userId="1ee7badb-5d1f-4872-89ae-dcf7b71f276a" providerId="ADAL" clId="{53886FC4-CEC3-49C2-A16F-E052A3E85A45}" dt="2020-03-20T17:56:27.582" v="15992" actId="478"/>
          <ac:spMkLst>
            <pc:docMk/>
            <pc:sldMk cId="764427157" sldId="1497"/>
            <ac:spMk id="23" creationId="{CE35D496-28E6-41C7-8A62-20A4167AAFA6}"/>
          </ac:spMkLst>
        </pc:spChg>
        <pc:spChg chg="del">
          <ac:chgData name="Sam Mesel" userId="1ee7badb-5d1f-4872-89ae-dcf7b71f276a" providerId="ADAL" clId="{53886FC4-CEC3-49C2-A16F-E052A3E85A45}" dt="2020-03-20T17:56:27.582" v="15992" actId="478"/>
          <ac:spMkLst>
            <pc:docMk/>
            <pc:sldMk cId="764427157" sldId="1497"/>
            <ac:spMk id="24" creationId="{E3A1952C-6BC1-4632-A61F-E20C70EE7593}"/>
          </ac:spMkLst>
        </pc:spChg>
        <pc:spChg chg="del">
          <ac:chgData name="Sam Mesel" userId="1ee7badb-5d1f-4872-89ae-dcf7b71f276a" providerId="ADAL" clId="{53886FC4-CEC3-49C2-A16F-E052A3E85A45}" dt="2020-03-20T17:56:27.582" v="15992" actId="478"/>
          <ac:spMkLst>
            <pc:docMk/>
            <pc:sldMk cId="764427157" sldId="1497"/>
            <ac:spMk id="25" creationId="{F17240AB-8716-4930-B86F-CC5998D4FB27}"/>
          </ac:spMkLst>
        </pc:spChg>
        <pc:spChg chg="del">
          <ac:chgData name="Sam Mesel" userId="1ee7badb-5d1f-4872-89ae-dcf7b71f276a" providerId="ADAL" clId="{53886FC4-CEC3-49C2-A16F-E052A3E85A45}" dt="2020-03-20T17:56:27.582" v="15992" actId="478"/>
          <ac:spMkLst>
            <pc:docMk/>
            <pc:sldMk cId="764427157" sldId="1497"/>
            <ac:spMk id="26" creationId="{B01FCAC5-2FB8-4F7D-8BD5-2D18A08A6F2B}"/>
          </ac:spMkLst>
        </pc:spChg>
        <pc:spChg chg="del">
          <ac:chgData name="Sam Mesel" userId="1ee7badb-5d1f-4872-89ae-dcf7b71f276a" providerId="ADAL" clId="{53886FC4-CEC3-49C2-A16F-E052A3E85A45}" dt="2020-03-20T17:56:27.582" v="15992" actId="478"/>
          <ac:spMkLst>
            <pc:docMk/>
            <pc:sldMk cId="764427157" sldId="1497"/>
            <ac:spMk id="27" creationId="{D1C427F4-9E28-4FF6-A93A-E21EFBB1826E}"/>
          </ac:spMkLst>
        </pc:spChg>
        <pc:spChg chg="del">
          <ac:chgData name="Sam Mesel" userId="1ee7badb-5d1f-4872-89ae-dcf7b71f276a" providerId="ADAL" clId="{53886FC4-CEC3-49C2-A16F-E052A3E85A45}" dt="2020-03-20T17:56:27.582" v="15992" actId="478"/>
          <ac:spMkLst>
            <pc:docMk/>
            <pc:sldMk cId="764427157" sldId="1497"/>
            <ac:spMk id="28" creationId="{4D390A33-5E69-444A-A60D-E6452535296E}"/>
          </ac:spMkLst>
        </pc:spChg>
        <pc:spChg chg="del">
          <ac:chgData name="Sam Mesel" userId="1ee7badb-5d1f-4872-89ae-dcf7b71f276a" providerId="ADAL" clId="{53886FC4-CEC3-49C2-A16F-E052A3E85A45}" dt="2020-03-20T17:56:27.582" v="15992" actId="478"/>
          <ac:spMkLst>
            <pc:docMk/>
            <pc:sldMk cId="764427157" sldId="1497"/>
            <ac:spMk id="29" creationId="{0C3A8C6D-0A41-4CFD-A28A-AC6D1618B26D}"/>
          </ac:spMkLst>
        </pc:spChg>
        <pc:spChg chg="del">
          <ac:chgData name="Sam Mesel" userId="1ee7badb-5d1f-4872-89ae-dcf7b71f276a" providerId="ADAL" clId="{53886FC4-CEC3-49C2-A16F-E052A3E85A45}" dt="2020-03-20T17:56:27.582" v="15992" actId="478"/>
          <ac:spMkLst>
            <pc:docMk/>
            <pc:sldMk cId="764427157" sldId="1497"/>
            <ac:spMk id="30" creationId="{19C30440-8201-48BA-8AC6-D269C45A73B6}"/>
          </ac:spMkLst>
        </pc:spChg>
        <pc:spChg chg="del">
          <ac:chgData name="Sam Mesel" userId="1ee7badb-5d1f-4872-89ae-dcf7b71f276a" providerId="ADAL" clId="{53886FC4-CEC3-49C2-A16F-E052A3E85A45}" dt="2020-03-20T17:56:27.582" v="15992" actId="478"/>
          <ac:spMkLst>
            <pc:docMk/>
            <pc:sldMk cId="764427157" sldId="1497"/>
            <ac:spMk id="31" creationId="{039913EF-FFF1-47D9-9024-27E93F05485B}"/>
          </ac:spMkLst>
        </pc:spChg>
        <pc:spChg chg="add mod">
          <ac:chgData name="Sam Mesel" userId="1ee7badb-5d1f-4872-89ae-dcf7b71f276a" providerId="ADAL" clId="{53886FC4-CEC3-49C2-A16F-E052A3E85A45}" dt="2020-03-20T17:57:26.459" v="16001" actId="14100"/>
          <ac:spMkLst>
            <pc:docMk/>
            <pc:sldMk cId="764427157" sldId="1497"/>
            <ac:spMk id="32" creationId="{CF86C0B4-8D6B-4523-9195-3F52AD6348CC}"/>
          </ac:spMkLst>
        </pc:spChg>
      </pc:sldChg>
    </pc:docChg>
  </pc:docChgLst>
  <pc:docChgLst>
    <pc:chgData name="Varinder Singh" userId="e78eab9f-fa20-4bd5-9745-875ae6e7a1cb" providerId="ADAL" clId="{192B271A-DEBD-4239-BF90-85764F2CE191}"/>
    <pc:docChg chg="undo custSel modSld">
      <pc:chgData name="Varinder Singh" userId="e78eab9f-fa20-4bd5-9745-875ae6e7a1cb" providerId="ADAL" clId="{192B271A-DEBD-4239-BF90-85764F2CE191}" dt="2020-03-05T03:31:34.404" v="633" actId="20577"/>
      <pc:docMkLst>
        <pc:docMk/>
      </pc:docMkLst>
      <pc:sldChg chg="modNotesTx">
        <pc:chgData name="Varinder Singh" userId="e78eab9f-fa20-4bd5-9745-875ae6e7a1cb" providerId="ADAL" clId="{192B271A-DEBD-4239-BF90-85764F2CE191}" dt="2020-03-05T02:13:16.641" v="343" actId="20577"/>
        <pc:sldMkLst>
          <pc:docMk/>
          <pc:sldMk cId="3735096506" sldId="563"/>
        </pc:sldMkLst>
      </pc:sldChg>
      <pc:sldChg chg="modSp modNotesTx">
        <pc:chgData name="Varinder Singh" userId="e78eab9f-fa20-4bd5-9745-875ae6e7a1cb" providerId="ADAL" clId="{192B271A-DEBD-4239-BF90-85764F2CE191}" dt="2020-03-05T03:00:14.607" v="496" actId="20577"/>
        <pc:sldMkLst>
          <pc:docMk/>
          <pc:sldMk cId="1737290916" sldId="591"/>
        </pc:sldMkLst>
        <pc:graphicFrameChg chg="mod">
          <ac:chgData name="Varinder Singh" userId="e78eab9f-fa20-4bd5-9745-875ae6e7a1cb" providerId="ADAL" clId="{192B271A-DEBD-4239-BF90-85764F2CE191}" dt="2020-03-05T02:59:49.718" v="463" actId="20577"/>
          <ac:graphicFrameMkLst>
            <pc:docMk/>
            <pc:sldMk cId="1737290916" sldId="591"/>
            <ac:graphicFrameMk id="3" creationId="{9484E1FE-7534-495E-863C-657A46F5E628}"/>
          </ac:graphicFrameMkLst>
        </pc:graphicFrameChg>
      </pc:sldChg>
      <pc:sldChg chg="modSp modNotesTx">
        <pc:chgData name="Varinder Singh" userId="e78eab9f-fa20-4bd5-9745-875ae6e7a1cb" providerId="ADAL" clId="{192B271A-DEBD-4239-BF90-85764F2CE191}" dt="2020-03-05T02:11:04.082" v="335" actId="12"/>
        <pc:sldMkLst>
          <pc:docMk/>
          <pc:sldMk cId="1325009333" sldId="607"/>
        </pc:sldMkLst>
        <pc:graphicFrameChg chg="mod">
          <ac:chgData name="Varinder Singh" userId="e78eab9f-fa20-4bd5-9745-875ae6e7a1cb" providerId="ADAL" clId="{192B271A-DEBD-4239-BF90-85764F2CE191}" dt="2020-03-05T02:09:38.613" v="327"/>
          <ac:graphicFrameMkLst>
            <pc:docMk/>
            <pc:sldMk cId="1325009333" sldId="607"/>
            <ac:graphicFrameMk id="16" creationId="{93C23775-6963-43D2-A76C-D134C16F4E3C}"/>
          </ac:graphicFrameMkLst>
        </pc:graphicFrameChg>
      </pc:sldChg>
      <pc:sldChg chg="modSp">
        <pc:chgData name="Varinder Singh" userId="e78eab9f-fa20-4bd5-9745-875ae6e7a1cb" providerId="ADAL" clId="{192B271A-DEBD-4239-BF90-85764F2CE191}" dt="2020-03-05T01:54:50.175" v="273" actId="113"/>
        <pc:sldMkLst>
          <pc:docMk/>
          <pc:sldMk cId="442293443" sldId="608"/>
        </pc:sldMkLst>
        <pc:graphicFrameChg chg="mod">
          <ac:chgData name="Varinder Singh" userId="e78eab9f-fa20-4bd5-9745-875ae6e7a1cb" providerId="ADAL" clId="{192B271A-DEBD-4239-BF90-85764F2CE191}" dt="2020-03-05T01:54:50.175" v="273" actId="113"/>
          <ac:graphicFrameMkLst>
            <pc:docMk/>
            <pc:sldMk cId="442293443" sldId="608"/>
            <ac:graphicFrameMk id="7" creationId="{CF7C7A3B-A65D-40B2-92A1-6E44F518C1B2}"/>
          </ac:graphicFrameMkLst>
        </pc:graphicFrameChg>
      </pc:sldChg>
      <pc:sldChg chg="modSp mod modNotesTx">
        <pc:chgData name="Varinder Singh" userId="e78eab9f-fa20-4bd5-9745-875ae6e7a1cb" providerId="ADAL" clId="{192B271A-DEBD-4239-BF90-85764F2CE191}" dt="2020-03-05T02:08:07.626" v="326" actId="20577"/>
        <pc:sldMkLst>
          <pc:docMk/>
          <pc:sldMk cId="3301692604" sldId="616"/>
        </pc:sldMkLst>
        <pc:spChg chg="mod">
          <ac:chgData name="Varinder Singh" userId="e78eab9f-fa20-4bd5-9745-875ae6e7a1cb" providerId="ADAL" clId="{192B271A-DEBD-4239-BF90-85764F2CE191}" dt="2020-03-05T02:08:07.626" v="326" actId="20577"/>
          <ac:spMkLst>
            <pc:docMk/>
            <pc:sldMk cId="3301692604" sldId="616"/>
            <ac:spMk id="8" creationId="{A1A983F2-5871-48C1-95D4-E5D9ADD59778}"/>
          </ac:spMkLst>
        </pc:spChg>
      </pc:sldChg>
      <pc:sldChg chg="modNotesTx">
        <pc:chgData name="Varinder Singh" userId="e78eab9f-fa20-4bd5-9745-875ae6e7a1cb" providerId="ADAL" clId="{192B271A-DEBD-4239-BF90-85764F2CE191}" dt="2020-03-05T02:07:33.010" v="317" actId="113"/>
        <pc:sldMkLst>
          <pc:docMk/>
          <pc:sldMk cId="147614051" sldId="617"/>
        </pc:sldMkLst>
      </pc:sldChg>
      <pc:sldChg chg="modSp modNotesTx">
        <pc:chgData name="Varinder Singh" userId="e78eab9f-fa20-4bd5-9745-875ae6e7a1cb" providerId="ADAL" clId="{192B271A-DEBD-4239-BF90-85764F2CE191}" dt="2020-03-05T02:41:39.514" v="386" actId="20577"/>
        <pc:sldMkLst>
          <pc:docMk/>
          <pc:sldMk cId="1318002608" sldId="623"/>
        </pc:sldMkLst>
        <pc:graphicFrameChg chg="mod">
          <ac:chgData name="Varinder Singh" userId="e78eab9f-fa20-4bd5-9745-875ae6e7a1cb" providerId="ADAL" clId="{192B271A-DEBD-4239-BF90-85764F2CE191}" dt="2020-03-05T02:41:39.514" v="386" actId="20577"/>
          <ac:graphicFrameMkLst>
            <pc:docMk/>
            <pc:sldMk cId="1318002608" sldId="623"/>
            <ac:graphicFrameMk id="6" creationId="{FE39FBFC-2347-4F5C-9A5B-6BC4070C7FFE}"/>
          </ac:graphicFrameMkLst>
        </pc:graphicFrameChg>
      </pc:sldChg>
      <pc:sldChg chg="modSp">
        <pc:chgData name="Varinder Singh" userId="e78eab9f-fa20-4bd5-9745-875ae6e7a1cb" providerId="ADAL" clId="{192B271A-DEBD-4239-BF90-85764F2CE191}" dt="2020-03-05T02:46:00.797" v="392" actId="20577"/>
        <pc:sldMkLst>
          <pc:docMk/>
          <pc:sldMk cId="3250101842" sldId="625"/>
        </pc:sldMkLst>
        <pc:graphicFrameChg chg="mod">
          <ac:chgData name="Varinder Singh" userId="e78eab9f-fa20-4bd5-9745-875ae6e7a1cb" providerId="ADAL" clId="{192B271A-DEBD-4239-BF90-85764F2CE191}" dt="2020-03-05T02:46:00.797" v="392" actId="20577"/>
          <ac:graphicFrameMkLst>
            <pc:docMk/>
            <pc:sldMk cId="3250101842" sldId="625"/>
            <ac:graphicFrameMk id="5" creationId="{5D7438D8-5693-4DB1-95DC-55A0C8D2FCF2}"/>
          </ac:graphicFrameMkLst>
        </pc:graphicFrameChg>
      </pc:sldChg>
      <pc:sldChg chg="modNotesTx">
        <pc:chgData name="Varinder Singh" userId="e78eab9f-fa20-4bd5-9745-875ae6e7a1cb" providerId="ADAL" clId="{192B271A-DEBD-4239-BF90-85764F2CE191}" dt="2020-03-05T03:31:34.404" v="633" actId="20577"/>
        <pc:sldMkLst>
          <pc:docMk/>
          <pc:sldMk cId="3922378719" sldId="666"/>
        </pc:sldMkLst>
      </pc:sldChg>
    </pc:docChg>
  </pc:docChgLst>
  <pc:docChgLst>
    <pc:chgData name="Steve Hord" userId="7478402321db30a2" providerId="LiveId" clId="{2BE8268A-D9D2-41A8-B4C6-48F6B669FF4C}"/>
    <pc:docChg chg="undo custSel modSld">
      <pc:chgData name="Steve Hord" userId="7478402321db30a2" providerId="LiveId" clId="{2BE8268A-D9D2-41A8-B4C6-48F6B669FF4C}" dt="2020-04-22T23:40:43.759" v="1155" actId="255"/>
      <pc:docMkLst>
        <pc:docMk/>
      </pc:docMkLst>
      <pc:sldChg chg="modSp modNotesTx">
        <pc:chgData name="Steve Hord" userId="7478402321db30a2" providerId="LiveId" clId="{2BE8268A-D9D2-41A8-B4C6-48F6B669FF4C}" dt="2020-04-21T22:24:11.498" v="73" actId="114"/>
        <pc:sldMkLst>
          <pc:docMk/>
          <pc:sldMk cId="4267675391" sldId="531"/>
        </pc:sldMkLst>
        <pc:spChg chg="mod">
          <ac:chgData name="Steve Hord" userId="7478402321db30a2" providerId="LiveId" clId="{2BE8268A-D9D2-41A8-B4C6-48F6B669FF4C}" dt="2020-04-21T22:23:46.709" v="71" actId="20577"/>
          <ac:spMkLst>
            <pc:docMk/>
            <pc:sldMk cId="4267675391" sldId="531"/>
            <ac:spMk id="6" creationId="{637E159C-9ACF-48AE-927A-D5FB13695C7F}"/>
          </ac:spMkLst>
        </pc:spChg>
      </pc:sldChg>
      <pc:sldChg chg="modSp">
        <pc:chgData name="Steve Hord" userId="7478402321db30a2" providerId="LiveId" clId="{2BE8268A-D9D2-41A8-B4C6-48F6B669FF4C}" dt="2020-04-21T21:57:35.650" v="3" actId="20577"/>
        <pc:sldMkLst>
          <pc:docMk/>
          <pc:sldMk cId="2621600474" sldId="534"/>
        </pc:sldMkLst>
        <pc:spChg chg="mod">
          <ac:chgData name="Steve Hord" userId="7478402321db30a2" providerId="LiveId" clId="{2BE8268A-D9D2-41A8-B4C6-48F6B669FF4C}" dt="2020-04-21T21:57:35.650" v="3" actId="20577"/>
          <ac:spMkLst>
            <pc:docMk/>
            <pc:sldMk cId="2621600474" sldId="534"/>
            <ac:spMk id="5" creationId="{55182462-DFDF-4D48-A92C-42FD52821C4E}"/>
          </ac:spMkLst>
        </pc:spChg>
      </pc:sldChg>
      <pc:sldChg chg="modSp">
        <pc:chgData name="Steve Hord" userId="7478402321db30a2" providerId="LiveId" clId="{2BE8268A-D9D2-41A8-B4C6-48F6B669FF4C}" dt="2020-04-21T22:35:44.645" v="107" actId="255"/>
        <pc:sldMkLst>
          <pc:docMk/>
          <pc:sldMk cId="2980146838" sldId="560"/>
        </pc:sldMkLst>
        <pc:spChg chg="mod">
          <ac:chgData name="Steve Hord" userId="7478402321db30a2" providerId="LiveId" clId="{2BE8268A-D9D2-41A8-B4C6-48F6B669FF4C}" dt="2020-04-21T22:35:44.645" v="107" actId="255"/>
          <ac:spMkLst>
            <pc:docMk/>
            <pc:sldMk cId="2980146838" sldId="560"/>
            <ac:spMk id="2" creationId="{4615BB0C-211A-4A6B-A4FE-D9C725309C49}"/>
          </ac:spMkLst>
        </pc:spChg>
      </pc:sldChg>
      <pc:sldChg chg="modSp modNotesTx">
        <pc:chgData name="Steve Hord" userId="7478402321db30a2" providerId="LiveId" clId="{2BE8268A-D9D2-41A8-B4C6-48F6B669FF4C}" dt="2020-04-21T22:38:54.992" v="112" actId="20577"/>
        <pc:sldMkLst>
          <pc:docMk/>
          <pc:sldMk cId="3735096506" sldId="563"/>
        </pc:sldMkLst>
        <pc:graphicFrameChg chg="mod">
          <ac:chgData name="Steve Hord" userId="7478402321db30a2" providerId="LiveId" clId="{2BE8268A-D9D2-41A8-B4C6-48F6B669FF4C}" dt="2020-04-21T22:37:31.828" v="110" actId="255"/>
          <ac:graphicFrameMkLst>
            <pc:docMk/>
            <pc:sldMk cId="3735096506" sldId="563"/>
            <ac:graphicFrameMk id="3" creationId="{9484E1FE-7534-495E-863C-657A46F5E628}"/>
          </ac:graphicFrameMkLst>
        </pc:graphicFrameChg>
      </pc:sldChg>
      <pc:sldChg chg="modSp">
        <pc:chgData name="Steve Hord" userId="7478402321db30a2" providerId="LiveId" clId="{2BE8268A-D9D2-41A8-B4C6-48F6B669FF4C}" dt="2020-04-21T22:41:23.571" v="119" actId="20577"/>
        <pc:sldMkLst>
          <pc:docMk/>
          <pc:sldMk cId="2034824179" sldId="565"/>
        </pc:sldMkLst>
        <pc:spChg chg="mod">
          <ac:chgData name="Steve Hord" userId="7478402321db30a2" providerId="LiveId" clId="{2BE8268A-D9D2-41A8-B4C6-48F6B669FF4C}" dt="2020-04-21T22:41:23.571" v="119" actId="20577"/>
          <ac:spMkLst>
            <pc:docMk/>
            <pc:sldMk cId="2034824179" sldId="565"/>
            <ac:spMk id="5" creationId="{55182462-DFDF-4D48-A92C-42FD52821C4E}"/>
          </ac:spMkLst>
        </pc:spChg>
      </pc:sldChg>
      <pc:sldChg chg="modSp">
        <pc:chgData name="Steve Hord" userId="7478402321db30a2" providerId="LiveId" clId="{2BE8268A-D9D2-41A8-B4C6-48F6B669FF4C}" dt="2020-04-21T23:09:46.321" v="147" actId="20577"/>
        <pc:sldMkLst>
          <pc:docMk/>
          <pc:sldMk cId="4221783869" sldId="566"/>
        </pc:sldMkLst>
        <pc:graphicFrameChg chg="mod">
          <ac:chgData name="Steve Hord" userId="7478402321db30a2" providerId="LiveId" clId="{2BE8268A-D9D2-41A8-B4C6-48F6B669FF4C}" dt="2020-04-21T23:09:46.321" v="147" actId="20577"/>
          <ac:graphicFrameMkLst>
            <pc:docMk/>
            <pc:sldMk cId="4221783869" sldId="566"/>
            <ac:graphicFrameMk id="5" creationId="{25A6B57F-352F-4FDB-9602-F090C817F748}"/>
          </ac:graphicFrameMkLst>
        </pc:graphicFrameChg>
      </pc:sldChg>
      <pc:sldChg chg="modSp">
        <pc:chgData name="Steve Hord" userId="7478402321db30a2" providerId="LiveId" clId="{2BE8268A-D9D2-41A8-B4C6-48F6B669FF4C}" dt="2020-04-22T16:54:25.556" v="448" actId="255"/>
        <pc:sldMkLst>
          <pc:docMk/>
          <pc:sldMk cId="1617064737" sldId="569"/>
        </pc:sldMkLst>
        <pc:spChg chg="mod">
          <ac:chgData name="Steve Hord" userId="7478402321db30a2" providerId="LiveId" clId="{2BE8268A-D9D2-41A8-B4C6-48F6B669FF4C}" dt="2020-04-22T16:54:25.556" v="448" actId="255"/>
          <ac:spMkLst>
            <pc:docMk/>
            <pc:sldMk cId="1617064737" sldId="569"/>
            <ac:spMk id="2" creationId="{4615BB0C-211A-4A6B-A4FE-D9C725309C49}"/>
          </ac:spMkLst>
        </pc:spChg>
      </pc:sldChg>
      <pc:sldChg chg="modSp modNotesTx">
        <pc:chgData name="Steve Hord" userId="7478402321db30a2" providerId="LiveId" clId="{2BE8268A-D9D2-41A8-B4C6-48F6B669FF4C}" dt="2020-04-22T17:00:06.946" v="458" actId="114"/>
        <pc:sldMkLst>
          <pc:docMk/>
          <pc:sldMk cId="2346840044" sldId="570"/>
        </pc:sldMkLst>
        <pc:graphicFrameChg chg="mod">
          <ac:chgData name="Steve Hord" userId="7478402321db30a2" providerId="LiveId" clId="{2BE8268A-D9D2-41A8-B4C6-48F6B669FF4C}" dt="2020-04-22T16:56:17.086" v="454" actId="255"/>
          <ac:graphicFrameMkLst>
            <pc:docMk/>
            <pc:sldMk cId="2346840044" sldId="570"/>
            <ac:graphicFrameMk id="3" creationId="{9484E1FE-7534-495E-863C-657A46F5E628}"/>
          </ac:graphicFrameMkLst>
        </pc:graphicFrameChg>
      </pc:sldChg>
      <pc:sldChg chg="modSp">
        <pc:chgData name="Steve Hord" userId="7478402321db30a2" providerId="LiveId" clId="{2BE8268A-D9D2-41A8-B4C6-48F6B669FF4C}" dt="2020-04-22T17:01:19.453" v="465" actId="20577"/>
        <pc:sldMkLst>
          <pc:docMk/>
          <pc:sldMk cId="2314306782" sldId="572"/>
        </pc:sldMkLst>
        <pc:spChg chg="mod">
          <ac:chgData name="Steve Hord" userId="7478402321db30a2" providerId="LiveId" clId="{2BE8268A-D9D2-41A8-B4C6-48F6B669FF4C}" dt="2020-04-22T17:01:19.453" v="465" actId="20577"/>
          <ac:spMkLst>
            <pc:docMk/>
            <pc:sldMk cId="2314306782" sldId="572"/>
            <ac:spMk id="5" creationId="{55182462-DFDF-4D48-A92C-42FD52821C4E}"/>
          </ac:spMkLst>
        </pc:spChg>
      </pc:sldChg>
      <pc:sldChg chg="modSp">
        <pc:chgData name="Steve Hord" userId="7478402321db30a2" providerId="LiveId" clId="{2BE8268A-D9D2-41A8-B4C6-48F6B669FF4C}" dt="2020-04-22T17:02:35.297" v="467" actId="255"/>
        <pc:sldMkLst>
          <pc:docMk/>
          <pc:sldMk cId="4248838292" sldId="573"/>
        </pc:sldMkLst>
        <pc:graphicFrameChg chg="mod">
          <ac:chgData name="Steve Hord" userId="7478402321db30a2" providerId="LiveId" clId="{2BE8268A-D9D2-41A8-B4C6-48F6B669FF4C}" dt="2020-04-22T17:02:35.297" v="467" actId="255"/>
          <ac:graphicFrameMkLst>
            <pc:docMk/>
            <pc:sldMk cId="4248838292" sldId="573"/>
            <ac:graphicFrameMk id="5" creationId="{1F83612F-0834-42B2-AA7B-98B8BAB0DB29}"/>
          </ac:graphicFrameMkLst>
        </pc:graphicFrameChg>
      </pc:sldChg>
      <pc:sldChg chg="modSp modNotesTx">
        <pc:chgData name="Steve Hord" userId="7478402321db30a2" providerId="LiveId" clId="{2BE8268A-D9D2-41A8-B4C6-48F6B669FF4C}" dt="2020-04-22T18:06:35.563" v="557" actId="114"/>
        <pc:sldMkLst>
          <pc:docMk/>
          <pc:sldMk cId="1487953619" sldId="574"/>
        </pc:sldMkLst>
        <pc:spChg chg="mod">
          <ac:chgData name="Steve Hord" userId="7478402321db30a2" providerId="LiveId" clId="{2BE8268A-D9D2-41A8-B4C6-48F6B669FF4C}" dt="2020-04-22T18:06:27.564" v="556" actId="20577"/>
          <ac:spMkLst>
            <pc:docMk/>
            <pc:sldMk cId="1487953619" sldId="574"/>
            <ac:spMk id="6" creationId="{637E159C-9ACF-48AE-927A-D5FB13695C7F}"/>
          </ac:spMkLst>
        </pc:spChg>
      </pc:sldChg>
      <pc:sldChg chg="modSp">
        <pc:chgData name="Steve Hord" userId="7478402321db30a2" providerId="LiveId" clId="{2BE8268A-D9D2-41A8-B4C6-48F6B669FF4C}" dt="2020-04-22T18:07:33.107" v="558" actId="255"/>
        <pc:sldMkLst>
          <pc:docMk/>
          <pc:sldMk cId="1775931326" sldId="576"/>
        </pc:sldMkLst>
        <pc:spChg chg="mod">
          <ac:chgData name="Steve Hord" userId="7478402321db30a2" providerId="LiveId" clId="{2BE8268A-D9D2-41A8-B4C6-48F6B669FF4C}" dt="2020-04-22T18:07:33.107" v="558" actId="255"/>
          <ac:spMkLst>
            <pc:docMk/>
            <pc:sldMk cId="1775931326" sldId="576"/>
            <ac:spMk id="2" creationId="{4615BB0C-211A-4A6B-A4FE-D9C725309C49}"/>
          </ac:spMkLst>
        </pc:spChg>
      </pc:sldChg>
      <pc:sldChg chg="modSp modNotesTx">
        <pc:chgData name="Steve Hord" userId="7478402321db30a2" providerId="LiveId" clId="{2BE8268A-D9D2-41A8-B4C6-48F6B669FF4C}" dt="2020-04-22T18:13:01.409" v="566" actId="20577"/>
        <pc:sldMkLst>
          <pc:docMk/>
          <pc:sldMk cId="4206133277" sldId="577"/>
        </pc:sldMkLst>
        <pc:graphicFrameChg chg="mod">
          <ac:chgData name="Steve Hord" userId="7478402321db30a2" providerId="LiveId" clId="{2BE8268A-D9D2-41A8-B4C6-48F6B669FF4C}" dt="2020-04-22T18:08:31.996" v="562" actId="20577"/>
          <ac:graphicFrameMkLst>
            <pc:docMk/>
            <pc:sldMk cId="4206133277" sldId="577"/>
            <ac:graphicFrameMk id="3" creationId="{9484E1FE-7534-495E-863C-657A46F5E628}"/>
          </ac:graphicFrameMkLst>
        </pc:graphicFrameChg>
      </pc:sldChg>
      <pc:sldChg chg="modSp">
        <pc:chgData name="Steve Hord" userId="7478402321db30a2" providerId="LiveId" clId="{2BE8268A-D9D2-41A8-B4C6-48F6B669FF4C}" dt="2020-04-22T18:13:46.389" v="569" actId="20577"/>
        <pc:sldMkLst>
          <pc:docMk/>
          <pc:sldMk cId="3424530645" sldId="579"/>
        </pc:sldMkLst>
        <pc:spChg chg="mod">
          <ac:chgData name="Steve Hord" userId="7478402321db30a2" providerId="LiveId" clId="{2BE8268A-D9D2-41A8-B4C6-48F6B669FF4C}" dt="2020-04-22T18:13:46.389" v="569" actId="20577"/>
          <ac:spMkLst>
            <pc:docMk/>
            <pc:sldMk cId="3424530645" sldId="579"/>
            <ac:spMk id="5" creationId="{55182462-DFDF-4D48-A92C-42FD52821C4E}"/>
          </ac:spMkLst>
        </pc:spChg>
      </pc:sldChg>
      <pc:sldChg chg="modNotesTx">
        <pc:chgData name="Steve Hord" userId="7478402321db30a2" providerId="LiveId" clId="{2BE8268A-D9D2-41A8-B4C6-48F6B669FF4C}" dt="2020-04-22T20:33:24.327" v="735" actId="114"/>
        <pc:sldMkLst>
          <pc:docMk/>
          <pc:sldMk cId="3006523152" sldId="581"/>
        </pc:sldMkLst>
      </pc:sldChg>
      <pc:sldChg chg="modSp">
        <pc:chgData name="Steve Hord" userId="7478402321db30a2" providerId="LiveId" clId="{2BE8268A-D9D2-41A8-B4C6-48F6B669FF4C}" dt="2020-04-22T20:34:28.472" v="737" actId="255"/>
        <pc:sldMkLst>
          <pc:docMk/>
          <pc:sldMk cId="376975876" sldId="583"/>
        </pc:sldMkLst>
        <pc:spChg chg="mod">
          <ac:chgData name="Steve Hord" userId="7478402321db30a2" providerId="LiveId" clId="{2BE8268A-D9D2-41A8-B4C6-48F6B669FF4C}" dt="2020-04-22T20:34:28.472" v="737" actId="255"/>
          <ac:spMkLst>
            <pc:docMk/>
            <pc:sldMk cId="376975876" sldId="583"/>
            <ac:spMk id="2" creationId="{4615BB0C-211A-4A6B-A4FE-D9C725309C49}"/>
          </ac:spMkLst>
        </pc:spChg>
      </pc:sldChg>
      <pc:sldChg chg="modSp modNotesTx">
        <pc:chgData name="Steve Hord" userId="7478402321db30a2" providerId="LiveId" clId="{2BE8268A-D9D2-41A8-B4C6-48F6B669FF4C}" dt="2020-04-22T20:36:27.275" v="741" actId="20577"/>
        <pc:sldMkLst>
          <pc:docMk/>
          <pc:sldMk cId="2444463328" sldId="584"/>
        </pc:sldMkLst>
        <pc:graphicFrameChg chg="mod">
          <ac:chgData name="Steve Hord" userId="7478402321db30a2" providerId="LiveId" clId="{2BE8268A-D9D2-41A8-B4C6-48F6B669FF4C}" dt="2020-04-22T20:35:41.757" v="740" actId="255"/>
          <ac:graphicFrameMkLst>
            <pc:docMk/>
            <pc:sldMk cId="2444463328" sldId="584"/>
            <ac:graphicFrameMk id="3" creationId="{9484E1FE-7534-495E-863C-657A46F5E628}"/>
          </ac:graphicFrameMkLst>
        </pc:graphicFrameChg>
      </pc:sldChg>
      <pc:sldChg chg="modSp">
        <pc:chgData name="Steve Hord" userId="7478402321db30a2" providerId="LiveId" clId="{2BE8268A-D9D2-41A8-B4C6-48F6B669FF4C}" dt="2020-04-22T20:37:18.662" v="749" actId="20577"/>
        <pc:sldMkLst>
          <pc:docMk/>
          <pc:sldMk cId="3258136525" sldId="586"/>
        </pc:sldMkLst>
        <pc:spChg chg="mod">
          <ac:chgData name="Steve Hord" userId="7478402321db30a2" providerId="LiveId" clId="{2BE8268A-D9D2-41A8-B4C6-48F6B669FF4C}" dt="2020-04-22T20:37:18.662" v="749" actId="20577"/>
          <ac:spMkLst>
            <pc:docMk/>
            <pc:sldMk cId="3258136525" sldId="586"/>
            <ac:spMk id="5" creationId="{55182462-DFDF-4D48-A92C-42FD52821C4E}"/>
          </ac:spMkLst>
        </pc:spChg>
      </pc:sldChg>
      <pc:sldChg chg="modSp modNotesTx">
        <pc:chgData name="Steve Hord" userId="7478402321db30a2" providerId="LiveId" clId="{2BE8268A-D9D2-41A8-B4C6-48F6B669FF4C}" dt="2020-04-22T22:33:27.016" v="884" actId="114"/>
        <pc:sldMkLst>
          <pc:docMk/>
          <pc:sldMk cId="1564438252" sldId="588"/>
        </pc:sldMkLst>
        <pc:spChg chg="mod">
          <ac:chgData name="Steve Hord" userId="7478402321db30a2" providerId="LiveId" clId="{2BE8268A-D9D2-41A8-B4C6-48F6B669FF4C}" dt="2020-04-22T22:33:18.994" v="883" actId="20577"/>
          <ac:spMkLst>
            <pc:docMk/>
            <pc:sldMk cId="1564438252" sldId="588"/>
            <ac:spMk id="6" creationId="{637E159C-9ACF-48AE-927A-D5FB13695C7F}"/>
          </ac:spMkLst>
        </pc:spChg>
      </pc:sldChg>
      <pc:sldChg chg="modSp">
        <pc:chgData name="Steve Hord" userId="7478402321db30a2" providerId="LiveId" clId="{2BE8268A-D9D2-41A8-B4C6-48F6B669FF4C}" dt="2020-04-22T22:33:54.689" v="885" actId="255"/>
        <pc:sldMkLst>
          <pc:docMk/>
          <pc:sldMk cId="1844966639" sldId="590"/>
        </pc:sldMkLst>
        <pc:spChg chg="mod">
          <ac:chgData name="Steve Hord" userId="7478402321db30a2" providerId="LiveId" clId="{2BE8268A-D9D2-41A8-B4C6-48F6B669FF4C}" dt="2020-04-22T22:33:54.689" v="885" actId="255"/>
          <ac:spMkLst>
            <pc:docMk/>
            <pc:sldMk cId="1844966639" sldId="590"/>
            <ac:spMk id="2" creationId="{4615BB0C-211A-4A6B-A4FE-D9C725309C49}"/>
          </ac:spMkLst>
        </pc:spChg>
      </pc:sldChg>
      <pc:sldChg chg="modSp modNotesTx">
        <pc:chgData name="Steve Hord" userId="7478402321db30a2" providerId="LiveId" clId="{2BE8268A-D9D2-41A8-B4C6-48F6B669FF4C}" dt="2020-04-22T22:35:40.674" v="891" actId="20577"/>
        <pc:sldMkLst>
          <pc:docMk/>
          <pc:sldMk cId="1737290916" sldId="591"/>
        </pc:sldMkLst>
        <pc:graphicFrameChg chg="mod">
          <ac:chgData name="Steve Hord" userId="7478402321db30a2" providerId="LiveId" clId="{2BE8268A-D9D2-41A8-B4C6-48F6B669FF4C}" dt="2020-04-22T22:34:51.928" v="888" actId="255"/>
          <ac:graphicFrameMkLst>
            <pc:docMk/>
            <pc:sldMk cId="1737290916" sldId="591"/>
            <ac:graphicFrameMk id="3" creationId="{9484E1FE-7534-495E-863C-657A46F5E628}"/>
          </ac:graphicFrameMkLst>
        </pc:graphicFrameChg>
      </pc:sldChg>
      <pc:sldChg chg="modSp">
        <pc:chgData name="Steve Hord" userId="7478402321db30a2" providerId="LiveId" clId="{2BE8268A-D9D2-41A8-B4C6-48F6B669FF4C}" dt="2020-04-22T22:36:46.626" v="895" actId="20577"/>
        <pc:sldMkLst>
          <pc:docMk/>
          <pc:sldMk cId="1849063011" sldId="593"/>
        </pc:sldMkLst>
        <pc:spChg chg="mod">
          <ac:chgData name="Steve Hord" userId="7478402321db30a2" providerId="LiveId" clId="{2BE8268A-D9D2-41A8-B4C6-48F6B669FF4C}" dt="2020-04-22T22:36:46.626" v="895" actId="20577"/>
          <ac:spMkLst>
            <pc:docMk/>
            <pc:sldMk cId="1849063011" sldId="593"/>
            <ac:spMk id="5" creationId="{55182462-DFDF-4D48-A92C-42FD52821C4E}"/>
          </ac:spMkLst>
        </pc:spChg>
      </pc:sldChg>
      <pc:sldChg chg="modSp">
        <pc:chgData name="Steve Hord" userId="7478402321db30a2" providerId="LiveId" clId="{2BE8268A-D9D2-41A8-B4C6-48F6B669FF4C}" dt="2020-04-22T23:40:43.759" v="1155" actId="255"/>
        <pc:sldMkLst>
          <pc:docMk/>
          <pc:sldMk cId="4224256510" sldId="597"/>
        </pc:sldMkLst>
        <pc:spChg chg="mod">
          <ac:chgData name="Steve Hord" userId="7478402321db30a2" providerId="LiveId" clId="{2BE8268A-D9D2-41A8-B4C6-48F6B669FF4C}" dt="2020-04-22T23:40:43.759" v="1155" actId="255"/>
          <ac:spMkLst>
            <pc:docMk/>
            <pc:sldMk cId="4224256510" sldId="597"/>
            <ac:spMk id="2" creationId="{4615BB0C-211A-4A6B-A4FE-D9C725309C49}"/>
          </ac:spMkLst>
        </pc:spChg>
      </pc:sldChg>
      <pc:sldChg chg="modSp modNotesTx">
        <pc:chgData name="Steve Hord" userId="7478402321db30a2" providerId="LiveId" clId="{2BE8268A-D9D2-41A8-B4C6-48F6B669FF4C}" dt="2020-04-21T22:04:54.941" v="27" actId="115"/>
        <pc:sldMkLst>
          <pc:docMk/>
          <pc:sldMk cId="230581017" sldId="605"/>
        </pc:sldMkLst>
        <pc:graphicFrameChg chg="mod">
          <ac:chgData name="Steve Hord" userId="7478402321db30a2" providerId="LiveId" clId="{2BE8268A-D9D2-41A8-B4C6-48F6B669FF4C}" dt="2020-04-21T22:02:19.312" v="17" actId="20577"/>
          <ac:graphicFrameMkLst>
            <pc:docMk/>
            <pc:sldMk cId="230581017" sldId="605"/>
            <ac:graphicFrameMk id="5" creationId="{B4B3A3A5-9D01-4F4F-AACF-3434015E1C8E}"/>
          </ac:graphicFrameMkLst>
        </pc:graphicFrameChg>
      </pc:sldChg>
      <pc:sldChg chg="modNotesTx">
        <pc:chgData name="Steve Hord" userId="7478402321db30a2" providerId="LiveId" clId="{2BE8268A-D9D2-41A8-B4C6-48F6B669FF4C}" dt="2020-04-21T22:12:01.585" v="38" actId="20577"/>
        <pc:sldMkLst>
          <pc:docMk/>
          <pc:sldMk cId="2390424317" sldId="606"/>
        </pc:sldMkLst>
      </pc:sldChg>
      <pc:sldChg chg="modSp modNotesTx">
        <pc:chgData name="Steve Hord" userId="7478402321db30a2" providerId="LiveId" clId="{2BE8268A-D9D2-41A8-B4C6-48F6B669FF4C}" dt="2020-04-21T22:00:53.154" v="13" actId="6549"/>
        <pc:sldMkLst>
          <pc:docMk/>
          <pc:sldMk cId="1325009333" sldId="607"/>
        </pc:sldMkLst>
        <pc:graphicFrameChg chg="mod">
          <ac:chgData name="Steve Hord" userId="7478402321db30a2" providerId="LiveId" clId="{2BE8268A-D9D2-41A8-B4C6-48F6B669FF4C}" dt="2020-04-21T21:58:23.171" v="5" actId="20577"/>
          <ac:graphicFrameMkLst>
            <pc:docMk/>
            <pc:sldMk cId="1325009333" sldId="607"/>
            <ac:graphicFrameMk id="16" creationId="{93C23775-6963-43D2-A76C-D134C16F4E3C}"/>
          </ac:graphicFrameMkLst>
        </pc:graphicFrameChg>
      </pc:sldChg>
      <pc:sldChg chg="modSp modNotesTx">
        <pc:chgData name="Steve Hord" userId="7478402321db30a2" providerId="LiveId" clId="{2BE8268A-D9D2-41A8-B4C6-48F6B669FF4C}" dt="2020-04-21T22:18:59.871" v="49" actId="20577"/>
        <pc:sldMkLst>
          <pc:docMk/>
          <pc:sldMk cId="442293443" sldId="608"/>
        </pc:sldMkLst>
        <pc:spChg chg="mod">
          <ac:chgData name="Steve Hord" userId="7478402321db30a2" providerId="LiveId" clId="{2BE8268A-D9D2-41A8-B4C6-48F6B669FF4C}" dt="2020-04-21T22:14:33.161" v="39" actId="20577"/>
          <ac:spMkLst>
            <pc:docMk/>
            <pc:sldMk cId="442293443" sldId="608"/>
            <ac:spMk id="3" creationId="{F35E8CBB-5A7D-4DEF-BAF7-8DD5D042F9E0}"/>
          </ac:spMkLst>
        </pc:spChg>
        <pc:graphicFrameChg chg="mod">
          <ac:chgData name="Steve Hord" userId="7478402321db30a2" providerId="LiveId" clId="{2BE8268A-D9D2-41A8-B4C6-48F6B669FF4C}" dt="2020-04-21T22:15:44.505" v="48" actId="20577"/>
          <ac:graphicFrameMkLst>
            <pc:docMk/>
            <pc:sldMk cId="442293443" sldId="608"/>
            <ac:graphicFrameMk id="7" creationId="{CF7C7A3B-A65D-40B2-92A1-6E44F518C1B2}"/>
          </ac:graphicFrameMkLst>
        </pc:graphicFrameChg>
      </pc:sldChg>
      <pc:sldChg chg="modNotesTx">
        <pc:chgData name="Steve Hord" userId="7478402321db30a2" providerId="LiveId" clId="{2BE8268A-D9D2-41A8-B4C6-48F6B669FF4C}" dt="2020-04-21T22:22:19.326" v="69" actId="20577"/>
        <pc:sldMkLst>
          <pc:docMk/>
          <pc:sldMk cId="3928707589" sldId="609"/>
        </pc:sldMkLst>
      </pc:sldChg>
      <pc:sldChg chg="modSp">
        <pc:chgData name="Steve Hord" userId="7478402321db30a2" providerId="LiveId" clId="{2BE8268A-D9D2-41A8-B4C6-48F6B669FF4C}" dt="2020-04-21T22:27:35.911" v="79" actId="20577"/>
        <pc:sldMkLst>
          <pc:docMk/>
          <pc:sldMk cId="2729675242" sldId="611"/>
        </pc:sldMkLst>
        <pc:graphicFrameChg chg="mod">
          <ac:chgData name="Steve Hord" userId="7478402321db30a2" providerId="LiveId" clId="{2BE8268A-D9D2-41A8-B4C6-48F6B669FF4C}" dt="2020-04-21T22:27:35.911" v="79" actId="20577"/>
          <ac:graphicFrameMkLst>
            <pc:docMk/>
            <pc:sldMk cId="2729675242" sldId="611"/>
            <ac:graphicFrameMk id="14" creationId="{5A678193-540D-4760-9964-3541B6B737B9}"/>
          </ac:graphicFrameMkLst>
        </pc:graphicFrameChg>
      </pc:sldChg>
      <pc:sldChg chg="modSp modNotesTx">
        <pc:chgData name="Steve Hord" userId="7478402321db30a2" providerId="LiveId" clId="{2BE8268A-D9D2-41A8-B4C6-48F6B669FF4C}" dt="2020-04-21T22:32:45.670" v="95" actId="313"/>
        <pc:sldMkLst>
          <pc:docMk/>
          <pc:sldMk cId="4229513381" sldId="612"/>
        </pc:sldMkLst>
        <pc:graphicFrameChg chg="mod">
          <ac:chgData name="Steve Hord" userId="7478402321db30a2" providerId="LiveId" clId="{2BE8268A-D9D2-41A8-B4C6-48F6B669FF4C}" dt="2020-04-21T22:29:42.833" v="84" actId="20577"/>
          <ac:graphicFrameMkLst>
            <pc:docMk/>
            <pc:sldMk cId="4229513381" sldId="612"/>
            <ac:graphicFrameMk id="6" creationId="{072122DA-A0C2-49BE-8963-1784B342297D}"/>
          </ac:graphicFrameMkLst>
        </pc:graphicFrameChg>
      </pc:sldChg>
      <pc:sldChg chg="modSp modNotesTx">
        <pc:chgData name="Steve Hord" userId="7478402321db30a2" providerId="LiveId" clId="{2BE8268A-D9D2-41A8-B4C6-48F6B669FF4C}" dt="2020-04-21T22:35:30.478" v="106" actId="20577"/>
        <pc:sldMkLst>
          <pc:docMk/>
          <pc:sldMk cId="3301692604" sldId="616"/>
        </pc:sldMkLst>
        <pc:spChg chg="mod">
          <ac:chgData name="Steve Hord" userId="7478402321db30a2" providerId="LiveId" clId="{2BE8268A-D9D2-41A8-B4C6-48F6B669FF4C}" dt="2020-04-21T22:33:57.575" v="99" actId="14100"/>
          <ac:spMkLst>
            <pc:docMk/>
            <pc:sldMk cId="3301692604" sldId="616"/>
            <ac:spMk id="8" creationId="{A1A983F2-5871-48C1-95D4-E5D9ADD59778}"/>
          </ac:spMkLst>
        </pc:spChg>
        <pc:graphicFrameChg chg="mod">
          <ac:chgData name="Steve Hord" userId="7478402321db30a2" providerId="LiveId" clId="{2BE8268A-D9D2-41A8-B4C6-48F6B669FF4C}" dt="2020-04-21T22:35:02.666" v="105" actId="20577"/>
          <ac:graphicFrameMkLst>
            <pc:docMk/>
            <pc:sldMk cId="3301692604" sldId="616"/>
            <ac:graphicFrameMk id="6" creationId="{5612EB1D-0D08-4DC1-A9CE-1B591A4F97E6}"/>
          </ac:graphicFrameMkLst>
        </pc:graphicFrameChg>
      </pc:sldChg>
      <pc:sldChg chg="modNotesTx">
        <pc:chgData name="Steve Hord" userId="7478402321db30a2" providerId="LiveId" clId="{2BE8268A-D9D2-41A8-B4C6-48F6B669FF4C}" dt="2020-04-21T22:33:23.706" v="96" actId="114"/>
        <pc:sldMkLst>
          <pc:docMk/>
          <pc:sldMk cId="3117416934" sldId="620"/>
        </pc:sldMkLst>
      </pc:sldChg>
      <pc:sldChg chg="modNotesTx">
        <pc:chgData name="Steve Hord" userId="7478402321db30a2" providerId="LiveId" clId="{2BE8268A-D9D2-41A8-B4C6-48F6B669FF4C}" dt="2020-04-21T22:45:33.370" v="126" actId="115"/>
        <pc:sldMkLst>
          <pc:docMk/>
          <pc:sldMk cId="4187810366" sldId="622"/>
        </pc:sldMkLst>
      </pc:sldChg>
      <pc:sldChg chg="modSp modNotesTx">
        <pc:chgData name="Steve Hord" userId="7478402321db30a2" providerId="LiveId" clId="{2BE8268A-D9D2-41A8-B4C6-48F6B669FF4C}" dt="2020-04-21T22:49:56.611" v="135" actId="113"/>
        <pc:sldMkLst>
          <pc:docMk/>
          <pc:sldMk cId="1318002608" sldId="623"/>
        </pc:sldMkLst>
        <pc:graphicFrameChg chg="mod">
          <ac:chgData name="Steve Hord" userId="7478402321db30a2" providerId="LiveId" clId="{2BE8268A-D9D2-41A8-B4C6-48F6B669FF4C}" dt="2020-04-21T22:47:08.705" v="127" actId="255"/>
          <ac:graphicFrameMkLst>
            <pc:docMk/>
            <pc:sldMk cId="1318002608" sldId="623"/>
            <ac:graphicFrameMk id="6" creationId="{FE39FBFC-2347-4F5C-9A5B-6BC4070C7FFE}"/>
          </ac:graphicFrameMkLst>
        </pc:graphicFrameChg>
      </pc:sldChg>
      <pc:sldChg chg="modSp modNotesTx">
        <pc:chgData name="Steve Hord" userId="7478402321db30a2" providerId="LiveId" clId="{2BE8268A-D9D2-41A8-B4C6-48F6B669FF4C}" dt="2020-04-21T22:58:06.519" v="137" actId="114"/>
        <pc:sldMkLst>
          <pc:docMk/>
          <pc:sldMk cId="1706074310" sldId="624"/>
        </pc:sldMkLst>
        <pc:spChg chg="mod">
          <ac:chgData name="Steve Hord" userId="7478402321db30a2" providerId="LiveId" clId="{2BE8268A-D9D2-41A8-B4C6-48F6B669FF4C}" dt="2020-04-21T22:57:56.957" v="136" actId="20577"/>
          <ac:spMkLst>
            <pc:docMk/>
            <pc:sldMk cId="1706074310" sldId="624"/>
            <ac:spMk id="6" creationId="{637E159C-9ACF-48AE-927A-D5FB13695C7F}"/>
          </ac:spMkLst>
        </pc:spChg>
      </pc:sldChg>
      <pc:sldChg chg="modSp modNotesTx">
        <pc:chgData name="Steve Hord" userId="7478402321db30a2" providerId="LiveId" clId="{2BE8268A-D9D2-41A8-B4C6-48F6B669FF4C}" dt="2020-04-21T23:20:40.880" v="287" actId="6549"/>
        <pc:sldMkLst>
          <pc:docMk/>
          <pc:sldMk cId="3250101842" sldId="625"/>
        </pc:sldMkLst>
        <pc:graphicFrameChg chg="mod">
          <ac:chgData name="Steve Hord" userId="7478402321db30a2" providerId="LiveId" clId="{2BE8268A-D9D2-41A8-B4C6-48F6B669FF4C}" dt="2020-04-21T23:11:44.162" v="158" actId="20577"/>
          <ac:graphicFrameMkLst>
            <pc:docMk/>
            <pc:sldMk cId="3250101842" sldId="625"/>
            <ac:graphicFrameMk id="5" creationId="{5D7438D8-5693-4DB1-95DC-55A0C8D2FCF2}"/>
          </ac:graphicFrameMkLst>
        </pc:graphicFrameChg>
      </pc:sldChg>
      <pc:sldChg chg="modSp modNotesTx">
        <pc:chgData name="Steve Hord" userId="7478402321db30a2" providerId="LiveId" clId="{2BE8268A-D9D2-41A8-B4C6-48F6B669FF4C}" dt="2020-04-21T23:24:20.135" v="297" actId="20577"/>
        <pc:sldMkLst>
          <pc:docMk/>
          <pc:sldMk cId="2221033715" sldId="626"/>
        </pc:sldMkLst>
        <pc:graphicFrameChg chg="mod">
          <ac:chgData name="Steve Hord" userId="7478402321db30a2" providerId="LiveId" clId="{2BE8268A-D9D2-41A8-B4C6-48F6B669FF4C}" dt="2020-04-21T23:22:54.027" v="291" actId="20577"/>
          <ac:graphicFrameMkLst>
            <pc:docMk/>
            <pc:sldMk cId="2221033715" sldId="626"/>
            <ac:graphicFrameMk id="6" creationId="{C6DD82E5-4CD6-4965-867A-3C9E652E2635}"/>
          </ac:graphicFrameMkLst>
        </pc:graphicFrameChg>
      </pc:sldChg>
      <pc:sldChg chg="modSp modNotesTx">
        <pc:chgData name="Steve Hord" userId="7478402321db30a2" providerId="LiveId" clId="{2BE8268A-D9D2-41A8-B4C6-48F6B669FF4C}" dt="2020-04-21T23:33:09.789" v="326" actId="20577"/>
        <pc:sldMkLst>
          <pc:docMk/>
          <pc:sldMk cId="2095964457" sldId="627"/>
        </pc:sldMkLst>
        <pc:graphicFrameChg chg="mod">
          <ac:chgData name="Steve Hord" userId="7478402321db30a2" providerId="LiveId" clId="{2BE8268A-D9D2-41A8-B4C6-48F6B669FF4C}" dt="2020-04-21T23:28:23.481" v="313" actId="20577"/>
          <ac:graphicFrameMkLst>
            <pc:docMk/>
            <pc:sldMk cId="2095964457" sldId="627"/>
            <ac:graphicFrameMk id="7" creationId="{1178B55D-984E-41D0-A9BA-E9D52330A210}"/>
          </ac:graphicFrameMkLst>
        </pc:graphicFrameChg>
      </pc:sldChg>
      <pc:sldChg chg="modSp modNotesTx">
        <pc:chgData name="Steve Hord" userId="7478402321db30a2" providerId="LiveId" clId="{2BE8268A-D9D2-41A8-B4C6-48F6B669FF4C}" dt="2020-04-21T23:47:47.980" v="364" actId="6549"/>
        <pc:sldMkLst>
          <pc:docMk/>
          <pc:sldMk cId="1868519924" sldId="628"/>
        </pc:sldMkLst>
        <pc:spChg chg="mod">
          <ac:chgData name="Steve Hord" userId="7478402321db30a2" providerId="LiveId" clId="{2BE8268A-D9D2-41A8-B4C6-48F6B669FF4C}" dt="2020-04-21T23:43:06.606" v="356" actId="2711"/>
          <ac:spMkLst>
            <pc:docMk/>
            <pc:sldMk cId="1868519924" sldId="628"/>
            <ac:spMk id="5" creationId="{2E5CD34F-F989-43B8-B265-5903EA6E24D4}"/>
          </ac:spMkLst>
        </pc:spChg>
        <pc:graphicFrameChg chg="mod">
          <ac:chgData name="Steve Hord" userId="7478402321db30a2" providerId="LiveId" clId="{2BE8268A-D9D2-41A8-B4C6-48F6B669FF4C}" dt="2020-04-21T23:42:27.051" v="354" actId="20577"/>
          <ac:graphicFrameMkLst>
            <pc:docMk/>
            <pc:sldMk cId="1868519924" sldId="628"/>
            <ac:graphicFrameMk id="6" creationId="{CB893BEC-7F4D-4425-80FF-BA6D91F13E90}"/>
          </ac:graphicFrameMkLst>
        </pc:graphicFrameChg>
      </pc:sldChg>
      <pc:sldChg chg="modSp modNotesTx">
        <pc:chgData name="Steve Hord" userId="7478402321db30a2" providerId="LiveId" clId="{2BE8268A-D9D2-41A8-B4C6-48F6B669FF4C}" dt="2020-04-21T23:52:10.517" v="376" actId="113"/>
        <pc:sldMkLst>
          <pc:docMk/>
          <pc:sldMk cId="1324540104" sldId="629"/>
        </pc:sldMkLst>
        <pc:graphicFrameChg chg="mod">
          <ac:chgData name="Steve Hord" userId="7478402321db30a2" providerId="LiveId" clId="{2BE8268A-D9D2-41A8-B4C6-48F6B669FF4C}" dt="2020-04-21T23:49:41.911" v="370" actId="20577"/>
          <ac:graphicFrameMkLst>
            <pc:docMk/>
            <pc:sldMk cId="1324540104" sldId="629"/>
            <ac:graphicFrameMk id="5" creationId="{09EAD516-1026-4FE2-95B8-45F49E2A26BC}"/>
          </ac:graphicFrameMkLst>
        </pc:graphicFrameChg>
      </pc:sldChg>
      <pc:sldChg chg="modSp modNotesTx">
        <pc:chgData name="Steve Hord" userId="7478402321db30a2" providerId="LiveId" clId="{2BE8268A-D9D2-41A8-B4C6-48F6B669FF4C}" dt="2020-04-21T23:34:38.935" v="328" actId="114"/>
        <pc:sldMkLst>
          <pc:docMk/>
          <pc:sldMk cId="840088110" sldId="630"/>
        </pc:sldMkLst>
        <pc:spChg chg="mod">
          <ac:chgData name="Steve Hord" userId="7478402321db30a2" providerId="LiveId" clId="{2BE8268A-D9D2-41A8-B4C6-48F6B669FF4C}" dt="2020-04-21T23:34:30.508" v="327" actId="20577"/>
          <ac:spMkLst>
            <pc:docMk/>
            <pc:sldMk cId="840088110" sldId="630"/>
            <ac:spMk id="6" creationId="{637E159C-9ACF-48AE-927A-D5FB13695C7F}"/>
          </ac:spMkLst>
        </pc:spChg>
      </pc:sldChg>
      <pc:sldChg chg="modSp">
        <pc:chgData name="Steve Hord" userId="7478402321db30a2" providerId="LiveId" clId="{2BE8268A-D9D2-41A8-B4C6-48F6B669FF4C}" dt="2020-04-22T16:53:50.957" v="447" actId="20577"/>
        <pc:sldMkLst>
          <pc:docMk/>
          <pc:sldMk cId="2114274025" sldId="633"/>
        </pc:sldMkLst>
        <pc:spChg chg="mod">
          <ac:chgData name="Steve Hord" userId="7478402321db30a2" providerId="LiveId" clId="{2BE8268A-D9D2-41A8-B4C6-48F6B669FF4C}" dt="2020-04-22T16:53:50.957" v="447" actId="20577"/>
          <ac:spMkLst>
            <pc:docMk/>
            <pc:sldMk cId="2114274025" sldId="633"/>
            <ac:spMk id="6" creationId="{637E159C-9ACF-48AE-927A-D5FB13695C7F}"/>
          </ac:spMkLst>
        </pc:spChg>
      </pc:sldChg>
      <pc:sldChg chg="modNotesTx">
        <pc:chgData name="Steve Hord" userId="7478402321db30a2" providerId="LiveId" clId="{2BE8268A-D9D2-41A8-B4C6-48F6B669FF4C}" dt="2020-04-22T00:01:03.588" v="415" actId="20577"/>
        <pc:sldMkLst>
          <pc:docMk/>
          <pc:sldMk cId="1470332785" sldId="634"/>
        </pc:sldMkLst>
      </pc:sldChg>
      <pc:sldChg chg="modSp modNotesTx">
        <pc:chgData name="Steve Hord" userId="7478402321db30a2" providerId="LiveId" clId="{2BE8268A-D9D2-41A8-B4C6-48F6B669FF4C}" dt="2020-04-22T16:52:15.967" v="446" actId="6549"/>
        <pc:sldMkLst>
          <pc:docMk/>
          <pc:sldMk cId="3006177986" sldId="635"/>
        </pc:sldMkLst>
        <pc:spChg chg="mod">
          <ac:chgData name="Steve Hord" userId="7478402321db30a2" providerId="LiveId" clId="{2BE8268A-D9D2-41A8-B4C6-48F6B669FF4C}" dt="2020-04-22T16:45:36.263" v="425" actId="2711"/>
          <ac:spMkLst>
            <pc:docMk/>
            <pc:sldMk cId="3006177986" sldId="635"/>
            <ac:spMk id="6" creationId="{080F1DBD-D8BC-48EA-9E78-35A3DF9F3437}"/>
          </ac:spMkLst>
        </pc:spChg>
        <pc:graphicFrameChg chg="mod">
          <ac:chgData name="Steve Hord" userId="7478402321db30a2" providerId="LiveId" clId="{2BE8268A-D9D2-41A8-B4C6-48F6B669FF4C}" dt="2020-04-22T16:44:47.356" v="424" actId="255"/>
          <ac:graphicFrameMkLst>
            <pc:docMk/>
            <pc:sldMk cId="3006177986" sldId="635"/>
            <ac:graphicFrameMk id="7" creationId="{E263420C-A34F-429D-962E-2B1CC6B16DD6}"/>
          </ac:graphicFrameMkLst>
        </pc:graphicFrameChg>
      </pc:sldChg>
      <pc:sldChg chg="modSp modNotesTx">
        <pc:chgData name="Steve Hord" userId="7478402321db30a2" providerId="LiveId" clId="{2BE8268A-D9D2-41A8-B4C6-48F6B669FF4C}" dt="2020-04-22T16:43:46.750" v="422" actId="20577"/>
        <pc:sldMkLst>
          <pc:docMk/>
          <pc:sldMk cId="170750579" sldId="636"/>
        </pc:sldMkLst>
        <pc:spChg chg="mod">
          <ac:chgData name="Steve Hord" userId="7478402321db30a2" providerId="LiveId" clId="{2BE8268A-D9D2-41A8-B4C6-48F6B669FF4C}" dt="2020-04-22T00:01:43.437" v="416" actId="2711"/>
          <ac:spMkLst>
            <pc:docMk/>
            <pc:sldMk cId="170750579" sldId="636"/>
            <ac:spMk id="5" creationId="{6C5BD28A-E22B-4A39-A6F2-E49BE61F13EE}"/>
          </ac:spMkLst>
        </pc:spChg>
      </pc:sldChg>
      <pc:sldChg chg="modSp modNotesTx">
        <pc:chgData name="Steve Hord" userId="7478402321db30a2" providerId="LiveId" clId="{2BE8268A-D9D2-41A8-B4C6-48F6B669FF4C}" dt="2020-04-22T17:29:18.077" v="498" actId="20577"/>
        <pc:sldMkLst>
          <pc:docMk/>
          <pc:sldMk cId="732669774" sldId="639"/>
        </pc:sldMkLst>
        <pc:graphicFrameChg chg="mod">
          <ac:chgData name="Steve Hord" userId="7478402321db30a2" providerId="LiveId" clId="{2BE8268A-D9D2-41A8-B4C6-48F6B669FF4C}" dt="2020-04-22T17:25:29.094" v="487" actId="20577"/>
          <ac:graphicFrameMkLst>
            <pc:docMk/>
            <pc:sldMk cId="732669774" sldId="639"/>
            <ac:graphicFrameMk id="5" creationId="{09902D76-AF24-4822-BD55-215875E1D268}"/>
          </ac:graphicFrameMkLst>
        </pc:graphicFrameChg>
      </pc:sldChg>
      <pc:sldChg chg="modSp modNotesTx">
        <pc:chgData name="Steve Hord" userId="7478402321db30a2" providerId="LiveId" clId="{2BE8268A-D9D2-41A8-B4C6-48F6B669FF4C}" dt="2020-04-22T17:33:12.322" v="505" actId="20577"/>
        <pc:sldMkLst>
          <pc:docMk/>
          <pc:sldMk cId="3930368789" sldId="640"/>
        </pc:sldMkLst>
        <pc:graphicFrameChg chg="mod">
          <ac:chgData name="Steve Hord" userId="7478402321db30a2" providerId="LiveId" clId="{2BE8268A-D9D2-41A8-B4C6-48F6B669FF4C}" dt="2020-04-22T17:31:28.097" v="503" actId="20577"/>
          <ac:graphicFrameMkLst>
            <pc:docMk/>
            <pc:sldMk cId="3930368789" sldId="640"/>
            <ac:graphicFrameMk id="5" creationId="{6F1B5E90-CEBF-4537-91EB-AC0DBCBA5210}"/>
          </ac:graphicFrameMkLst>
        </pc:graphicFrameChg>
      </pc:sldChg>
      <pc:sldChg chg="modSp modNotesTx">
        <pc:chgData name="Steve Hord" userId="7478402321db30a2" providerId="LiveId" clId="{2BE8268A-D9D2-41A8-B4C6-48F6B669FF4C}" dt="2020-04-22T17:43:33.486" v="521" actId="20577"/>
        <pc:sldMkLst>
          <pc:docMk/>
          <pc:sldMk cId="172937384" sldId="641"/>
        </pc:sldMkLst>
        <pc:spChg chg="mod">
          <ac:chgData name="Steve Hord" userId="7478402321db30a2" providerId="LiveId" clId="{2BE8268A-D9D2-41A8-B4C6-48F6B669FF4C}" dt="2020-04-22T17:35:59.957" v="514" actId="2711"/>
          <ac:spMkLst>
            <pc:docMk/>
            <pc:sldMk cId="172937384" sldId="641"/>
            <ac:spMk id="5" creationId="{6CB2FA83-0DB2-4D69-AEAC-E1C657B6D68D}"/>
          </ac:spMkLst>
        </pc:spChg>
        <pc:graphicFrameChg chg="mod">
          <ac:chgData name="Steve Hord" userId="7478402321db30a2" providerId="LiveId" clId="{2BE8268A-D9D2-41A8-B4C6-48F6B669FF4C}" dt="2020-04-22T17:35:39.598" v="513" actId="20577"/>
          <ac:graphicFrameMkLst>
            <pc:docMk/>
            <pc:sldMk cId="172937384" sldId="641"/>
            <ac:graphicFrameMk id="6" creationId="{18B894D6-E22E-4CFC-A540-F16B2A407F36}"/>
          </ac:graphicFrameMkLst>
        </pc:graphicFrameChg>
      </pc:sldChg>
      <pc:sldChg chg="modSp">
        <pc:chgData name="Steve Hord" userId="7478402321db30a2" providerId="LiveId" clId="{2BE8268A-D9D2-41A8-B4C6-48F6B669FF4C}" dt="2020-04-22T17:45:04.280" v="522" actId="2711"/>
        <pc:sldMkLst>
          <pc:docMk/>
          <pc:sldMk cId="3714785798" sldId="642"/>
        </pc:sldMkLst>
        <pc:spChg chg="mod">
          <ac:chgData name="Steve Hord" userId="7478402321db30a2" providerId="LiveId" clId="{2BE8268A-D9D2-41A8-B4C6-48F6B669FF4C}" dt="2020-04-22T17:45:04.280" v="522" actId="2711"/>
          <ac:spMkLst>
            <pc:docMk/>
            <pc:sldMk cId="3714785798" sldId="642"/>
            <ac:spMk id="6" creationId="{5BEE3541-3FB8-4584-8442-720F972358C6}"/>
          </ac:spMkLst>
        </pc:spChg>
      </pc:sldChg>
      <pc:sldChg chg="modSp modNotesTx">
        <pc:chgData name="Steve Hord" userId="7478402321db30a2" providerId="LiveId" clId="{2BE8268A-D9D2-41A8-B4C6-48F6B669FF4C}" dt="2020-04-22T18:01:10.444" v="555" actId="20577"/>
        <pc:sldMkLst>
          <pc:docMk/>
          <pc:sldMk cId="1075660142" sldId="643"/>
        </pc:sldMkLst>
        <pc:spChg chg="mod">
          <ac:chgData name="Steve Hord" userId="7478402321db30a2" providerId="LiveId" clId="{2BE8268A-D9D2-41A8-B4C6-48F6B669FF4C}" dt="2020-04-22T17:52:46.597" v="523" actId="2711"/>
          <ac:spMkLst>
            <pc:docMk/>
            <pc:sldMk cId="1075660142" sldId="643"/>
            <ac:spMk id="5" creationId="{5D5E76E1-09E0-48F1-B1DE-ABBB0E586ACF}"/>
          </ac:spMkLst>
        </pc:spChg>
      </pc:sldChg>
      <pc:sldChg chg="modSp modNotesTx">
        <pc:chgData name="Steve Hord" userId="7478402321db30a2" providerId="LiveId" clId="{2BE8268A-D9D2-41A8-B4C6-48F6B669FF4C}" dt="2020-04-22T22:03:48.732" v="795" actId="6549"/>
        <pc:sldMkLst>
          <pc:docMk/>
          <pc:sldMk cId="3559491282" sldId="644"/>
        </pc:sldMkLst>
        <pc:graphicFrameChg chg="mod">
          <ac:chgData name="Steve Hord" userId="7478402321db30a2" providerId="LiveId" clId="{2BE8268A-D9D2-41A8-B4C6-48F6B669FF4C}" dt="2020-04-22T22:00:33.816" v="787" actId="255"/>
          <ac:graphicFrameMkLst>
            <pc:docMk/>
            <pc:sldMk cId="3559491282" sldId="644"/>
            <ac:graphicFrameMk id="5" creationId="{245B2B36-0B74-4B3E-B10A-918A3616B657}"/>
          </ac:graphicFrameMkLst>
        </pc:graphicFrameChg>
      </pc:sldChg>
      <pc:sldChg chg="modSp modNotesTx">
        <pc:chgData name="Steve Hord" userId="7478402321db30a2" providerId="LiveId" clId="{2BE8268A-D9D2-41A8-B4C6-48F6B669FF4C}" dt="2020-04-22T22:13:06.076" v="844" actId="20577"/>
        <pc:sldMkLst>
          <pc:docMk/>
          <pc:sldMk cId="3740111246" sldId="645"/>
        </pc:sldMkLst>
        <pc:graphicFrameChg chg="modGraphic">
          <ac:chgData name="Steve Hord" userId="7478402321db30a2" providerId="LiveId" clId="{2BE8268A-D9D2-41A8-B4C6-48F6B669FF4C}" dt="2020-04-22T22:05:48.507" v="815" actId="20577"/>
          <ac:graphicFrameMkLst>
            <pc:docMk/>
            <pc:sldMk cId="3740111246" sldId="645"/>
            <ac:graphicFrameMk id="7" creationId="{34AC8C55-62B7-42B0-A5E2-38B7F90A62F4}"/>
          </ac:graphicFrameMkLst>
        </pc:graphicFrameChg>
      </pc:sldChg>
      <pc:sldChg chg="modSp modNotesTx">
        <pc:chgData name="Steve Hord" userId="7478402321db30a2" providerId="LiveId" clId="{2BE8268A-D9D2-41A8-B4C6-48F6B669FF4C}" dt="2020-04-22T22:21:41.851" v="865" actId="113"/>
        <pc:sldMkLst>
          <pc:docMk/>
          <pc:sldMk cId="3406017694" sldId="646"/>
        </pc:sldMkLst>
        <pc:graphicFrameChg chg="mod">
          <ac:chgData name="Steve Hord" userId="7478402321db30a2" providerId="LiveId" clId="{2BE8268A-D9D2-41A8-B4C6-48F6B669FF4C}" dt="2020-04-22T22:15:27.672" v="852" actId="255"/>
          <ac:graphicFrameMkLst>
            <pc:docMk/>
            <pc:sldMk cId="3406017694" sldId="646"/>
            <ac:graphicFrameMk id="6" creationId="{41AC8C61-B717-4C41-B581-C2B4D565FD9A}"/>
          </ac:graphicFrameMkLst>
        </pc:graphicFrameChg>
      </pc:sldChg>
      <pc:sldChg chg="modSp">
        <pc:chgData name="Steve Hord" userId="7478402321db30a2" providerId="LiveId" clId="{2BE8268A-D9D2-41A8-B4C6-48F6B669FF4C}" dt="2020-04-22T22:23:12.141" v="867" actId="255"/>
        <pc:sldMkLst>
          <pc:docMk/>
          <pc:sldMk cId="2150837780" sldId="647"/>
        </pc:sldMkLst>
        <pc:graphicFrameChg chg="mod">
          <ac:chgData name="Steve Hord" userId="7478402321db30a2" providerId="LiveId" clId="{2BE8268A-D9D2-41A8-B4C6-48F6B669FF4C}" dt="2020-04-22T22:23:12.141" v="867" actId="255"/>
          <ac:graphicFrameMkLst>
            <pc:docMk/>
            <pc:sldMk cId="2150837780" sldId="647"/>
            <ac:graphicFrameMk id="5" creationId="{A5FDCDBF-FA5D-4CEB-8207-A136249012DF}"/>
          </ac:graphicFrameMkLst>
        </pc:graphicFrameChg>
      </pc:sldChg>
      <pc:sldChg chg="modSp modNotesTx">
        <pc:chgData name="Steve Hord" userId="7478402321db30a2" providerId="LiveId" clId="{2BE8268A-D9D2-41A8-B4C6-48F6B669FF4C}" dt="2020-04-22T22:29:18.511" v="880" actId="20577"/>
        <pc:sldMkLst>
          <pc:docMk/>
          <pc:sldMk cId="2721394381" sldId="648"/>
        </pc:sldMkLst>
        <pc:spChg chg="mod">
          <ac:chgData name="Steve Hord" userId="7478402321db30a2" providerId="LiveId" clId="{2BE8268A-D9D2-41A8-B4C6-48F6B669FF4C}" dt="2020-04-22T22:25:16.792" v="871" actId="20577"/>
          <ac:spMkLst>
            <pc:docMk/>
            <pc:sldMk cId="2721394381" sldId="648"/>
            <ac:spMk id="4" creationId="{F3616A99-090F-45E1-9334-58D58B148205}"/>
          </ac:spMkLst>
        </pc:spChg>
        <pc:spChg chg="mod">
          <ac:chgData name="Steve Hord" userId="7478402321db30a2" providerId="LiveId" clId="{2BE8268A-D9D2-41A8-B4C6-48F6B669FF4C}" dt="2020-04-22T22:25:39.852" v="872" actId="2711"/>
          <ac:spMkLst>
            <pc:docMk/>
            <pc:sldMk cId="2721394381" sldId="648"/>
            <ac:spMk id="5" creationId="{F86A7CF7-DBA0-4B09-89A8-9B6A792598D9}"/>
          </ac:spMkLst>
        </pc:spChg>
      </pc:sldChg>
      <pc:sldChg chg="modNotesTx">
        <pc:chgData name="Steve Hord" userId="7478402321db30a2" providerId="LiveId" clId="{2BE8268A-D9D2-41A8-B4C6-48F6B669FF4C}" dt="2020-04-22T22:31:33.166" v="882" actId="6549"/>
        <pc:sldMkLst>
          <pc:docMk/>
          <pc:sldMk cId="3526675307" sldId="649"/>
        </pc:sldMkLst>
      </pc:sldChg>
      <pc:sldChg chg="modSp modNotesTx">
        <pc:chgData name="Steve Hord" userId="7478402321db30a2" providerId="LiveId" clId="{2BE8268A-D9D2-41A8-B4C6-48F6B669FF4C}" dt="2020-04-22T20:40:49.616" v="759" actId="20577"/>
        <pc:sldMkLst>
          <pc:docMk/>
          <pc:sldMk cId="414429562" sldId="652"/>
        </pc:sldMkLst>
        <pc:graphicFrameChg chg="mod">
          <ac:chgData name="Steve Hord" userId="7478402321db30a2" providerId="LiveId" clId="{2BE8268A-D9D2-41A8-B4C6-48F6B669FF4C}" dt="2020-04-22T20:39:29.301" v="757" actId="20577"/>
          <ac:graphicFrameMkLst>
            <pc:docMk/>
            <pc:sldMk cId="414429562" sldId="652"/>
            <ac:graphicFrameMk id="7" creationId="{8E814E8D-720B-47C9-8A1F-4441C2B85411}"/>
          </ac:graphicFrameMkLst>
        </pc:graphicFrameChg>
      </pc:sldChg>
      <pc:sldChg chg="modSp">
        <pc:chgData name="Steve Hord" userId="7478402321db30a2" providerId="LiveId" clId="{2BE8268A-D9D2-41A8-B4C6-48F6B669FF4C}" dt="2020-04-22T21:43:19.178" v="764" actId="255"/>
        <pc:sldMkLst>
          <pc:docMk/>
          <pc:sldMk cId="2508506295" sldId="653"/>
        </pc:sldMkLst>
        <pc:graphicFrameChg chg="modGraphic">
          <ac:chgData name="Steve Hord" userId="7478402321db30a2" providerId="LiveId" clId="{2BE8268A-D9D2-41A8-B4C6-48F6B669FF4C}" dt="2020-04-22T21:43:19.178" v="764" actId="255"/>
          <ac:graphicFrameMkLst>
            <pc:docMk/>
            <pc:sldMk cId="2508506295" sldId="653"/>
            <ac:graphicFrameMk id="10" creationId="{7FC218A8-88B5-4B09-9039-98226F89CDF8}"/>
          </ac:graphicFrameMkLst>
        </pc:graphicFrameChg>
      </pc:sldChg>
      <pc:sldChg chg="modSp">
        <pc:chgData name="Steve Hord" userId="7478402321db30a2" providerId="LiveId" clId="{2BE8268A-D9D2-41A8-B4C6-48F6B669FF4C}" dt="2020-04-22T21:44:47.737" v="766" actId="255"/>
        <pc:sldMkLst>
          <pc:docMk/>
          <pc:sldMk cId="668974516" sldId="654"/>
        </pc:sldMkLst>
        <pc:graphicFrameChg chg="modGraphic">
          <ac:chgData name="Steve Hord" userId="7478402321db30a2" providerId="LiveId" clId="{2BE8268A-D9D2-41A8-B4C6-48F6B669FF4C}" dt="2020-04-22T21:44:47.737" v="766" actId="255"/>
          <ac:graphicFrameMkLst>
            <pc:docMk/>
            <pc:sldMk cId="668974516" sldId="654"/>
            <ac:graphicFrameMk id="5" creationId="{D3FE1FB0-9FF4-44EA-99AB-92BAF660D1B8}"/>
          </ac:graphicFrameMkLst>
        </pc:graphicFrameChg>
      </pc:sldChg>
      <pc:sldChg chg="modSp modNotesTx">
        <pc:chgData name="Steve Hord" userId="7478402321db30a2" providerId="LiveId" clId="{2BE8268A-D9D2-41A8-B4C6-48F6B669FF4C}" dt="2020-04-22T21:48:22.040" v="772" actId="20577"/>
        <pc:sldMkLst>
          <pc:docMk/>
          <pc:sldMk cId="2471988427" sldId="656"/>
        </pc:sldMkLst>
        <pc:spChg chg="mod">
          <ac:chgData name="Steve Hord" userId="7478402321db30a2" providerId="LiveId" clId="{2BE8268A-D9D2-41A8-B4C6-48F6B669FF4C}" dt="2020-04-22T21:46:26.046" v="769" actId="255"/>
          <ac:spMkLst>
            <pc:docMk/>
            <pc:sldMk cId="2471988427" sldId="656"/>
            <ac:spMk id="4" creationId="{F3616A99-090F-45E1-9334-58D58B148205}"/>
          </ac:spMkLst>
        </pc:spChg>
        <pc:spChg chg="mod">
          <ac:chgData name="Steve Hord" userId="7478402321db30a2" providerId="LiveId" clId="{2BE8268A-D9D2-41A8-B4C6-48F6B669FF4C}" dt="2020-04-22T21:47:03.066" v="770" actId="14100"/>
          <ac:spMkLst>
            <pc:docMk/>
            <pc:sldMk cId="2471988427" sldId="656"/>
            <ac:spMk id="6" creationId="{52A792B6-1B28-444F-8A7C-2727FAFF8B02}"/>
          </ac:spMkLst>
        </pc:spChg>
      </pc:sldChg>
      <pc:sldChg chg="modSp modNotesTx">
        <pc:chgData name="Steve Hord" userId="7478402321db30a2" providerId="LiveId" clId="{2BE8268A-D9D2-41A8-B4C6-48F6B669FF4C}" dt="2020-04-22T21:50:43.484" v="774" actId="20577"/>
        <pc:sldMkLst>
          <pc:docMk/>
          <pc:sldMk cId="1683744399" sldId="657"/>
        </pc:sldMkLst>
        <pc:spChg chg="mod">
          <ac:chgData name="Steve Hord" userId="7478402321db30a2" providerId="LiveId" clId="{2BE8268A-D9D2-41A8-B4C6-48F6B669FF4C}" dt="2020-04-22T21:49:59.501" v="773" actId="2711"/>
          <ac:spMkLst>
            <pc:docMk/>
            <pc:sldMk cId="1683744399" sldId="657"/>
            <ac:spMk id="6" creationId="{52A792B6-1B28-444F-8A7C-2727FAFF8B02}"/>
          </ac:spMkLst>
        </pc:spChg>
      </pc:sldChg>
      <pc:sldChg chg="modSp modNotesTx">
        <pc:chgData name="Steve Hord" userId="7478402321db30a2" providerId="LiveId" clId="{2BE8268A-D9D2-41A8-B4C6-48F6B669FF4C}" dt="2020-04-22T21:52:21.497" v="776" actId="114"/>
        <pc:sldMkLst>
          <pc:docMk/>
          <pc:sldMk cId="3912230581" sldId="658"/>
        </pc:sldMkLst>
        <pc:spChg chg="mod">
          <ac:chgData name="Steve Hord" userId="7478402321db30a2" providerId="LiveId" clId="{2BE8268A-D9D2-41A8-B4C6-48F6B669FF4C}" dt="2020-04-22T21:51:52.130" v="775" actId="20577"/>
          <ac:spMkLst>
            <pc:docMk/>
            <pc:sldMk cId="3912230581" sldId="658"/>
            <ac:spMk id="6" creationId="{637E159C-9ACF-48AE-927A-D5FB13695C7F}"/>
          </ac:spMkLst>
        </pc:spChg>
      </pc:sldChg>
      <pc:sldChg chg="modSp modNotesTx">
        <pc:chgData name="Steve Hord" userId="7478402321db30a2" providerId="LiveId" clId="{2BE8268A-D9D2-41A8-B4C6-48F6B669FF4C}" dt="2020-04-22T21:59:08.648" v="785" actId="114"/>
        <pc:sldMkLst>
          <pc:docMk/>
          <pc:sldMk cId="1838965179" sldId="661"/>
        </pc:sldMkLst>
        <pc:spChg chg="mod">
          <ac:chgData name="Steve Hord" userId="7478402321db30a2" providerId="LiveId" clId="{2BE8268A-D9D2-41A8-B4C6-48F6B669FF4C}" dt="2020-04-22T21:58:59.677" v="783" actId="20577"/>
          <ac:spMkLst>
            <pc:docMk/>
            <pc:sldMk cId="1838965179" sldId="661"/>
            <ac:spMk id="6" creationId="{637E159C-9ACF-48AE-927A-D5FB13695C7F}"/>
          </ac:spMkLst>
        </pc:spChg>
      </pc:sldChg>
      <pc:sldChg chg="modSp">
        <pc:chgData name="Steve Hord" userId="7478402321db30a2" providerId="LiveId" clId="{2BE8268A-D9D2-41A8-B4C6-48F6B669FF4C}" dt="2020-04-22T21:57:21.665" v="782" actId="20577"/>
        <pc:sldMkLst>
          <pc:docMk/>
          <pc:sldMk cId="79963935" sldId="662"/>
        </pc:sldMkLst>
        <pc:graphicFrameChg chg="mod">
          <ac:chgData name="Steve Hord" userId="7478402321db30a2" providerId="LiveId" clId="{2BE8268A-D9D2-41A8-B4C6-48F6B669FF4C}" dt="2020-04-22T21:57:21.665" v="782" actId="20577"/>
          <ac:graphicFrameMkLst>
            <pc:docMk/>
            <pc:sldMk cId="79963935" sldId="662"/>
            <ac:graphicFrameMk id="5" creationId="{B4176FC8-D990-4BE6-9629-E246FC64ACDF}"/>
          </ac:graphicFrameMkLst>
        </pc:graphicFrameChg>
      </pc:sldChg>
      <pc:sldChg chg="modSp modNotesTx">
        <pc:chgData name="Steve Hord" userId="7478402321db30a2" providerId="LiveId" clId="{2BE8268A-D9D2-41A8-B4C6-48F6B669FF4C}" dt="2020-04-21T23:40:32.318" v="348" actId="12"/>
        <pc:sldMkLst>
          <pc:docMk/>
          <pc:sldMk cId="1743105056" sldId="665"/>
        </pc:sldMkLst>
        <pc:graphicFrameChg chg="mod">
          <ac:chgData name="Steve Hord" userId="7478402321db30a2" providerId="LiveId" clId="{2BE8268A-D9D2-41A8-B4C6-48F6B669FF4C}" dt="2020-04-21T23:36:56.978" v="336" actId="20577"/>
          <ac:graphicFrameMkLst>
            <pc:docMk/>
            <pc:sldMk cId="1743105056" sldId="665"/>
            <ac:graphicFrameMk id="7" creationId="{1178B55D-984E-41D0-A9BA-E9D52330A210}"/>
          </ac:graphicFrameMkLst>
        </pc:graphicFrameChg>
      </pc:sldChg>
      <pc:sldChg chg="modSp modNotesTx">
        <pc:chgData name="Steve Hord" userId="7478402321db30a2" providerId="LiveId" clId="{2BE8268A-D9D2-41A8-B4C6-48F6B669FF4C}" dt="2020-04-21T23:54:49.404" v="387" actId="113"/>
        <pc:sldMkLst>
          <pc:docMk/>
          <pc:sldMk cId="3922378719" sldId="666"/>
        </pc:sldMkLst>
        <pc:spChg chg="mod">
          <ac:chgData name="Steve Hord" userId="7478402321db30a2" providerId="LiveId" clId="{2BE8268A-D9D2-41A8-B4C6-48F6B669FF4C}" dt="2020-04-21T23:53:48.052" v="379" actId="255"/>
          <ac:spMkLst>
            <pc:docMk/>
            <pc:sldMk cId="3922378719" sldId="666"/>
            <ac:spMk id="4" creationId="{137A33B6-B3D2-4115-BBAF-642663B99AE8}"/>
          </ac:spMkLst>
        </pc:spChg>
        <pc:graphicFrameChg chg="mod">
          <ac:chgData name="Steve Hord" userId="7478402321db30a2" providerId="LiveId" clId="{2BE8268A-D9D2-41A8-B4C6-48F6B669FF4C}" dt="2020-04-21T23:53:49.621" v="380"/>
          <ac:graphicFrameMkLst>
            <pc:docMk/>
            <pc:sldMk cId="3922378719" sldId="666"/>
            <ac:graphicFrameMk id="5" creationId="{09EAD516-1026-4FE2-95B8-45F49E2A26BC}"/>
          </ac:graphicFrameMkLst>
        </pc:graphicFrameChg>
      </pc:sldChg>
      <pc:sldChg chg="modSp">
        <pc:chgData name="Steve Hord" userId="7478402321db30a2" providerId="LiveId" clId="{2BE8268A-D9D2-41A8-B4C6-48F6B669FF4C}" dt="2020-04-22T17:20:14.615" v="472" actId="20577"/>
        <pc:sldMkLst>
          <pc:docMk/>
          <pc:sldMk cId="979826723" sldId="667"/>
        </pc:sldMkLst>
        <pc:graphicFrameChg chg="mod">
          <ac:chgData name="Steve Hord" userId="7478402321db30a2" providerId="LiveId" clId="{2BE8268A-D9D2-41A8-B4C6-48F6B669FF4C}" dt="2020-04-22T17:20:14.615" v="472" actId="20577"/>
          <ac:graphicFrameMkLst>
            <pc:docMk/>
            <pc:sldMk cId="979826723" sldId="667"/>
            <ac:graphicFrameMk id="5" creationId="{1F83612F-0834-42B2-AA7B-98B8BAB0DB29}"/>
          </ac:graphicFrameMkLst>
        </pc:graphicFrameChg>
      </pc:sldChg>
      <pc:sldChg chg="modSp modNotesTx">
        <pc:chgData name="Steve Hord" userId="7478402321db30a2" providerId="LiveId" clId="{2BE8268A-D9D2-41A8-B4C6-48F6B669FF4C}" dt="2020-04-21T23:56:12.479" v="390" actId="114"/>
        <pc:sldMkLst>
          <pc:docMk/>
          <pc:sldMk cId="2074685303" sldId="668"/>
        </pc:sldMkLst>
        <pc:spChg chg="mod">
          <ac:chgData name="Steve Hord" userId="7478402321db30a2" providerId="LiveId" clId="{2BE8268A-D9D2-41A8-B4C6-48F6B669FF4C}" dt="2020-04-21T23:56:04.452" v="389" actId="20577"/>
          <ac:spMkLst>
            <pc:docMk/>
            <pc:sldMk cId="2074685303" sldId="668"/>
            <ac:spMk id="6" creationId="{637E159C-9ACF-48AE-927A-D5FB13695C7F}"/>
          </ac:spMkLst>
        </pc:spChg>
      </pc:sldChg>
      <pc:sldChg chg="modSp">
        <pc:chgData name="Steve Hord" userId="7478402321db30a2" providerId="LiveId" clId="{2BE8268A-D9D2-41A8-B4C6-48F6B669FF4C}" dt="2020-04-22T22:39:07.970" v="1063" actId="1036"/>
        <pc:sldMkLst>
          <pc:docMk/>
          <pc:sldMk cId="1985242486" sldId="669"/>
        </pc:sldMkLst>
        <pc:spChg chg="mod">
          <ac:chgData name="Steve Hord" userId="7478402321db30a2" providerId="LiveId" clId="{2BE8268A-D9D2-41A8-B4C6-48F6B669FF4C}" dt="2020-04-22T22:39:07.970" v="1063" actId="1036"/>
          <ac:spMkLst>
            <pc:docMk/>
            <pc:sldMk cId="1985242486" sldId="669"/>
            <ac:spMk id="9" creationId="{610DD977-6571-4E75-91F5-C5F710C78F56}"/>
          </ac:spMkLst>
        </pc:spChg>
      </pc:sldChg>
      <pc:sldChg chg="modSp modNotesTx">
        <pc:chgData name="Steve Hord" userId="7478402321db30a2" providerId="LiveId" clId="{2BE8268A-D9D2-41A8-B4C6-48F6B669FF4C}" dt="2020-04-22T22:58:54.833" v="1073" actId="20577"/>
        <pc:sldMkLst>
          <pc:docMk/>
          <pc:sldMk cId="555630791" sldId="670"/>
        </pc:sldMkLst>
        <pc:graphicFrameChg chg="mod">
          <ac:chgData name="Steve Hord" userId="7478402321db30a2" providerId="LiveId" clId="{2BE8268A-D9D2-41A8-B4C6-48F6B669FF4C}" dt="2020-04-22T22:46:30.920" v="1072" actId="255"/>
          <ac:graphicFrameMkLst>
            <pc:docMk/>
            <pc:sldMk cId="555630791" sldId="670"/>
            <ac:graphicFrameMk id="5" creationId="{A0F8EEBB-1F60-49BA-B82D-D4F2B222B4C1}"/>
          </ac:graphicFrameMkLst>
        </pc:graphicFrameChg>
      </pc:sldChg>
      <pc:sldChg chg="modNotesTx">
        <pc:chgData name="Steve Hord" userId="7478402321db30a2" providerId="LiveId" clId="{2BE8268A-D9D2-41A8-B4C6-48F6B669FF4C}" dt="2020-04-22T23:14:50.871" v="1127" actId="20577"/>
        <pc:sldMkLst>
          <pc:docMk/>
          <pc:sldMk cId="1245107683" sldId="672"/>
        </pc:sldMkLst>
      </pc:sldChg>
      <pc:sldChg chg="modSp">
        <pc:chgData name="Steve Hord" userId="7478402321db30a2" providerId="LiveId" clId="{2BE8268A-D9D2-41A8-B4C6-48F6B669FF4C}" dt="2020-04-22T23:20:49.270" v="1132" actId="255"/>
        <pc:sldMkLst>
          <pc:docMk/>
          <pc:sldMk cId="2745452252" sldId="673"/>
        </pc:sldMkLst>
        <pc:graphicFrameChg chg="mod">
          <ac:chgData name="Steve Hord" userId="7478402321db30a2" providerId="LiveId" clId="{2BE8268A-D9D2-41A8-B4C6-48F6B669FF4C}" dt="2020-04-22T23:20:49.270" v="1132" actId="255"/>
          <ac:graphicFrameMkLst>
            <pc:docMk/>
            <pc:sldMk cId="2745452252" sldId="673"/>
            <ac:graphicFrameMk id="5" creationId="{7D108DBB-E906-4DC1-A452-84D184316AB6}"/>
          </ac:graphicFrameMkLst>
        </pc:graphicFrameChg>
      </pc:sldChg>
      <pc:sldChg chg="modNotesTx">
        <pc:chgData name="Steve Hord" userId="7478402321db30a2" providerId="LiveId" clId="{2BE8268A-D9D2-41A8-B4C6-48F6B669FF4C}" dt="2020-04-22T23:17:47.069" v="1128" actId="20577"/>
        <pc:sldMkLst>
          <pc:docMk/>
          <pc:sldMk cId="3635708424" sldId="674"/>
        </pc:sldMkLst>
      </pc:sldChg>
      <pc:sldChg chg="modNotesTx">
        <pc:chgData name="Steve Hord" userId="7478402321db30a2" providerId="LiveId" clId="{2BE8268A-D9D2-41A8-B4C6-48F6B669FF4C}" dt="2020-04-22T23:23:16.959" v="1135" actId="6549"/>
        <pc:sldMkLst>
          <pc:docMk/>
          <pc:sldMk cId="2423425577" sldId="678"/>
        </pc:sldMkLst>
      </pc:sldChg>
      <pc:sldChg chg="modNotesTx">
        <pc:chgData name="Steve Hord" userId="7478402321db30a2" providerId="LiveId" clId="{2BE8268A-D9D2-41A8-B4C6-48F6B669FF4C}" dt="2020-04-22T23:30:25.515" v="1146" actId="114"/>
        <pc:sldMkLst>
          <pc:docMk/>
          <pc:sldMk cId="3179011032" sldId="680"/>
        </pc:sldMkLst>
      </pc:sldChg>
      <pc:sldChg chg="modNotesTx">
        <pc:chgData name="Steve Hord" userId="7478402321db30a2" providerId="LiveId" clId="{2BE8268A-D9D2-41A8-B4C6-48F6B669FF4C}" dt="2020-04-22T23:28:28.583" v="1140" actId="114"/>
        <pc:sldMkLst>
          <pc:docMk/>
          <pc:sldMk cId="936353458" sldId="682"/>
        </pc:sldMkLst>
      </pc:sldChg>
      <pc:sldChg chg="modSp">
        <pc:chgData name="Steve Hord" userId="7478402321db30a2" providerId="LiveId" clId="{2BE8268A-D9D2-41A8-B4C6-48F6B669FF4C}" dt="2020-04-22T18:17:12.587" v="634" actId="20577"/>
        <pc:sldMkLst>
          <pc:docMk/>
          <pc:sldMk cId="1667766974" sldId="1397"/>
        </pc:sldMkLst>
        <pc:spChg chg="mod">
          <ac:chgData name="Steve Hord" userId="7478402321db30a2" providerId="LiveId" clId="{2BE8268A-D9D2-41A8-B4C6-48F6B669FF4C}" dt="2020-04-22T18:17:12.587" v="634" actId="20577"/>
          <ac:spMkLst>
            <pc:docMk/>
            <pc:sldMk cId="1667766974" sldId="1397"/>
            <ac:spMk id="6" creationId="{00000000-0000-0000-0000-000000000000}"/>
          </ac:spMkLst>
        </pc:spChg>
        <pc:spChg chg="mod">
          <ac:chgData name="Steve Hord" userId="7478402321db30a2" providerId="LiveId" clId="{2BE8268A-D9D2-41A8-B4C6-48F6B669FF4C}" dt="2020-04-22T18:15:30.491" v="604" actId="255"/>
          <ac:spMkLst>
            <pc:docMk/>
            <pc:sldMk cId="1667766974" sldId="1397"/>
            <ac:spMk id="15" creationId="{00000000-0000-0000-0000-000000000000}"/>
          </ac:spMkLst>
        </pc:spChg>
      </pc:sldChg>
      <pc:sldChg chg="modSp">
        <pc:chgData name="Steve Hord" userId="7478402321db30a2" providerId="LiveId" clId="{2BE8268A-D9D2-41A8-B4C6-48F6B669FF4C}" dt="2020-04-22T18:18:43.229" v="636" actId="255"/>
        <pc:sldMkLst>
          <pc:docMk/>
          <pc:sldMk cId="3087139904" sldId="1402"/>
        </pc:sldMkLst>
        <pc:spChg chg="mod">
          <ac:chgData name="Steve Hord" userId="7478402321db30a2" providerId="LiveId" clId="{2BE8268A-D9D2-41A8-B4C6-48F6B669FF4C}" dt="2020-04-22T18:18:43.229" v="636" actId="255"/>
          <ac:spMkLst>
            <pc:docMk/>
            <pc:sldMk cId="3087139904" sldId="1402"/>
            <ac:spMk id="30" creationId="{00000000-0000-0000-0000-000000000000}"/>
          </ac:spMkLst>
        </pc:spChg>
        <pc:spChg chg="mod">
          <ac:chgData name="Steve Hord" userId="7478402321db30a2" providerId="LiveId" clId="{2BE8268A-D9D2-41A8-B4C6-48F6B669FF4C}" dt="2020-04-22T18:18:20.438" v="635" actId="20577"/>
          <ac:spMkLst>
            <pc:docMk/>
            <pc:sldMk cId="3087139904" sldId="1402"/>
            <ac:spMk id="31" creationId="{00000000-0000-0000-0000-000000000000}"/>
          </ac:spMkLst>
        </pc:spChg>
      </pc:sldChg>
      <pc:sldChg chg="modSp modNotesTx">
        <pc:chgData name="Steve Hord" userId="7478402321db30a2" providerId="LiveId" clId="{2BE8268A-D9D2-41A8-B4C6-48F6B669FF4C}" dt="2020-04-22T18:26:20.776" v="646" actId="6549"/>
        <pc:sldMkLst>
          <pc:docMk/>
          <pc:sldMk cId="1483710239" sldId="1403"/>
        </pc:sldMkLst>
        <pc:spChg chg="mod">
          <ac:chgData name="Steve Hord" userId="7478402321db30a2" providerId="LiveId" clId="{2BE8268A-D9D2-41A8-B4C6-48F6B669FF4C}" dt="2020-04-22T18:22:33.451" v="640" actId="255"/>
          <ac:spMkLst>
            <pc:docMk/>
            <pc:sldMk cId="1483710239" sldId="1403"/>
            <ac:spMk id="2" creationId="{00000000-0000-0000-0000-000000000000}"/>
          </ac:spMkLst>
        </pc:spChg>
        <pc:spChg chg="mod">
          <ac:chgData name="Steve Hord" userId="7478402321db30a2" providerId="LiveId" clId="{2BE8268A-D9D2-41A8-B4C6-48F6B669FF4C}" dt="2020-04-22T18:22:59.163" v="642" actId="255"/>
          <ac:spMkLst>
            <pc:docMk/>
            <pc:sldMk cId="1483710239" sldId="1403"/>
            <ac:spMk id="3" creationId="{00000000-0000-0000-0000-000000000000}"/>
          </ac:spMkLst>
        </pc:spChg>
      </pc:sldChg>
      <pc:sldChg chg="modSp">
        <pc:chgData name="Steve Hord" userId="7478402321db30a2" providerId="LiveId" clId="{2BE8268A-D9D2-41A8-B4C6-48F6B669FF4C}" dt="2020-04-22T18:29:56.540" v="661" actId="20577"/>
        <pc:sldMkLst>
          <pc:docMk/>
          <pc:sldMk cId="235990786" sldId="1420"/>
        </pc:sldMkLst>
        <pc:spChg chg="mod">
          <ac:chgData name="Steve Hord" userId="7478402321db30a2" providerId="LiveId" clId="{2BE8268A-D9D2-41A8-B4C6-48F6B669FF4C}" dt="2020-04-22T18:29:56.540" v="661" actId="20577"/>
          <ac:spMkLst>
            <pc:docMk/>
            <pc:sldMk cId="235990786" sldId="1420"/>
            <ac:spMk id="3" creationId="{00000000-0000-0000-0000-000000000000}"/>
          </ac:spMkLst>
        </pc:spChg>
      </pc:sldChg>
      <pc:sldChg chg="modSp">
        <pc:chgData name="Steve Hord" userId="7478402321db30a2" providerId="LiveId" clId="{2BE8268A-D9D2-41A8-B4C6-48F6B669FF4C}" dt="2020-04-22T20:19:14.630" v="694" actId="1036"/>
        <pc:sldMkLst>
          <pc:docMk/>
          <pc:sldMk cId="2843153520" sldId="1422"/>
        </pc:sldMkLst>
        <pc:spChg chg="mod">
          <ac:chgData name="Steve Hord" userId="7478402321db30a2" providerId="LiveId" clId="{2BE8268A-D9D2-41A8-B4C6-48F6B669FF4C}" dt="2020-04-22T20:19:14.630" v="694" actId="1036"/>
          <ac:spMkLst>
            <pc:docMk/>
            <pc:sldMk cId="2843153520" sldId="1422"/>
            <ac:spMk id="12" creationId="{00000000-0000-0000-0000-000000000000}"/>
          </ac:spMkLst>
        </pc:spChg>
      </pc:sldChg>
      <pc:sldChg chg="modSp">
        <pc:chgData name="Steve Hord" userId="7478402321db30a2" providerId="LiveId" clId="{2BE8268A-D9D2-41A8-B4C6-48F6B669FF4C}" dt="2020-04-22T20:30:57.646" v="734" actId="255"/>
        <pc:sldMkLst>
          <pc:docMk/>
          <pc:sldMk cId="1726345108" sldId="1438"/>
        </pc:sldMkLst>
        <pc:spChg chg="mod">
          <ac:chgData name="Steve Hord" userId="7478402321db30a2" providerId="LiveId" clId="{2BE8268A-D9D2-41A8-B4C6-48F6B669FF4C}" dt="2020-04-22T20:30:57.646" v="734" actId="255"/>
          <ac:spMkLst>
            <pc:docMk/>
            <pc:sldMk cId="1726345108" sldId="1438"/>
            <ac:spMk id="3" creationId="{00000000-0000-0000-0000-000000000000}"/>
          </ac:spMkLst>
        </pc:spChg>
        <pc:spChg chg="mod">
          <ac:chgData name="Steve Hord" userId="7478402321db30a2" providerId="LiveId" clId="{2BE8268A-D9D2-41A8-B4C6-48F6B669FF4C}" dt="2020-04-22T20:30:33.064" v="733" actId="2711"/>
          <ac:spMkLst>
            <pc:docMk/>
            <pc:sldMk cId="1726345108" sldId="1438"/>
            <ac:spMk id="27" creationId="{00000000-0000-0000-0000-000000000000}"/>
          </ac:spMkLst>
        </pc:spChg>
      </pc:sldChg>
      <pc:sldChg chg="modSp">
        <pc:chgData name="Steve Hord" userId="7478402321db30a2" providerId="LiveId" clId="{2BE8268A-D9D2-41A8-B4C6-48F6B669FF4C}" dt="2020-04-22T20:22:34.621" v="715" actId="1036"/>
        <pc:sldMkLst>
          <pc:docMk/>
          <pc:sldMk cId="572847463" sldId="1469"/>
        </pc:sldMkLst>
        <pc:spChg chg="mod">
          <ac:chgData name="Steve Hord" userId="7478402321db30a2" providerId="LiveId" clId="{2BE8268A-D9D2-41A8-B4C6-48F6B669FF4C}" dt="2020-04-22T20:22:34.621" v="715" actId="1036"/>
          <ac:spMkLst>
            <pc:docMk/>
            <pc:sldMk cId="572847463" sldId="1469"/>
            <ac:spMk id="2" creationId="{00000000-0000-0000-0000-000000000000}"/>
          </ac:spMkLst>
        </pc:spChg>
      </pc:sldChg>
      <pc:sldChg chg="modSp">
        <pc:chgData name="Steve Hord" userId="7478402321db30a2" providerId="LiveId" clId="{2BE8268A-D9D2-41A8-B4C6-48F6B669FF4C}" dt="2020-04-22T20:25:44.331" v="726" actId="113"/>
        <pc:sldMkLst>
          <pc:docMk/>
          <pc:sldMk cId="3837107871" sldId="1470"/>
        </pc:sldMkLst>
        <pc:graphicFrameChg chg="mod">
          <ac:chgData name="Steve Hord" userId="7478402321db30a2" providerId="LiveId" clId="{2BE8268A-D9D2-41A8-B4C6-48F6B669FF4C}" dt="2020-04-22T20:25:44.331" v="726" actId="113"/>
          <ac:graphicFrameMkLst>
            <pc:docMk/>
            <pc:sldMk cId="3837107871" sldId="1470"/>
            <ac:graphicFrameMk id="32" creationId="{F51D10F5-C1EE-42D4-81CB-39B1964BEC29}"/>
          </ac:graphicFrameMkLst>
        </pc:graphicFrameChg>
      </pc:sldChg>
      <pc:sldChg chg="modSp">
        <pc:chgData name="Steve Hord" userId="7478402321db30a2" providerId="LiveId" clId="{2BE8268A-D9D2-41A8-B4C6-48F6B669FF4C}" dt="2020-04-22T18:21:17.427" v="639" actId="255"/>
        <pc:sldMkLst>
          <pc:docMk/>
          <pc:sldMk cId="1951336761" sldId="1476"/>
        </pc:sldMkLst>
        <pc:graphicFrameChg chg="mod">
          <ac:chgData name="Steve Hord" userId="7478402321db30a2" providerId="LiveId" clId="{2BE8268A-D9D2-41A8-B4C6-48F6B669FF4C}" dt="2020-04-22T18:21:17.427" v="639" actId="255"/>
          <ac:graphicFrameMkLst>
            <pc:docMk/>
            <pc:sldMk cId="1951336761" sldId="1476"/>
            <ac:graphicFrameMk id="9" creationId="{B7D25272-154E-46BF-B0DF-2CF9F77FF2EB}"/>
          </ac:graphicFrameMkLst>
        </pc:graphicFrameChg>
      </pc:sldChg>
      <pc:sldChg chg="modNotesTx">
        <pc:chgData name="Steve Hord" userId="7478402321db30a2" providerId="LiveId" clId="{2BE8268A-D9D2-41A8-B4C6-48F6B669FF4C}" dt="2020-04-22T20:28:55.818" v="732" actId="6549"/>
        <pc:sldMkLst>
          <pc:docMk/>
          <pc:sldMk cId="107517723" sldId="1479"/>
        </pc:sldMkLst>
      </pc:sldChg>
      <pc:sldChg chg="modSp">
        <pc:chgData name="Steve Hord" userId="7478402321db30a2" providerId="LiveId" clId="{2BE8268A-D9D2-41A8-B4C6-48F6B669FF4C}" dt="2020-04-22T23:22:01.336" v="1134" actId="20577"/>
        <pc:sldMkLst>
          <pc:docMk/>
          <pc:sldMk cId="565001887" sldId="1481"/>
        </pc:sldMkLst>
        <pc:graphicFrameChg chg="mod">
          <ac:chgData name="Steve Hord" userId="7478402321db30a2" providerId="LiveId" clId="{2BE8268A-D9D2-41A8-B4C6-48F6B669FF4C}" dt="2020-04-22T23:22:01.336" v="1134" actId="20577"/>
          <ac:graphicFrameMkLst>
            <pc:docMk/>
            <pc:sldMk cId="565001887" sldId="1481"/>
            <ac:graphicFrameMk id="5" creationId="{7D108DBB-E906-4DC1-A452-84D184316AB6}"/>
          </ac:graphicFrameMkLst>
        </pc:graphicFrameChg>
      </pc:sldChg>
      <pc:sldChg chg="modNotesTx">
        <pc:chgData name="Steve Hord" userId="7478402321db30a2" providerId="LiveId" clId="{2BE8268A-D9D2-41A8-B4C6-48F6B669FF4C}" dt="2020-04-22T23:29:42.932" v="1145" actId="114"/>
        <pc:sldMkLst>
          <pc:docMk/>
          <pc:sldMk cId="2597649565" sldId="1483"/>
        </pc:sldMkLst>
      </pc:sldChg>
      <pc:sldChg chg="modNotesTx">
        <pc:chgData name="Steve Hord" userId="7478402321db30a2" providerId="LiveId" clId="{2BE8268A-D9D2-41A8-B4C6-48F6B669FF4C}" dt="2020-04-22T23:34:19.667" v="1149" actId="20577"/>
        <pc:sldMkLst>
          <pc:docMk/>
          <pc:sldMk cId="1619754780" sldId="1486"/>
        </pc:sldMkLst>
      </pc:sldChg>
      <pc:sldChg chg="modNotesTx">
        <pc:chgData name="Steve Hord" userId="7478402321db30a2" providerId="LiveId" clId="{2BE8268A-D9D2-41A8-B4C6-48F6B669FF4C}" dt="2020-04-22T23:40:23.478" v="1154" actId="114"/>
        <pc:sldMkLst>
          <pc:docMk/>
          <pc:sldMk cId="1932756397" sldId="1490"/>
        </pc:sldMkLst>
      </pc:sldChg>
      <pc:sldChg chg="modSp">
        <pc:chgData name="Steve Hord" userId="7478402321db30a2" providerId="LiveId" clId="{2BE8268A-D9D2-41A8-B4C6-48F6B669FF4C}" dt="2020-04-22T22:42:43.265" v="1068" actId="14100"/>
        <pc:sldMkLst>
          <pc:docMk/>
          <pc:sldMk cId="2378945749" sldId="1491"/>
        </pc:sldMkLst>
        <pc:spChg chg="mod">
          <ac:chgData name="Steve Hord" userId="7478402321db30a2" providerId="LiveId" clId="{2BE8268A-D9D2-41A8-B4C6-48F6B669FF4C}" dt="2020-04-22T22:42:43.265" v="1068" actId="14100"/>
          <ac:spMkLst>
            <pc:docMk/>
            <pc:sldMk cId="2378945749" sldId="1491"/>
            <ac:spMk id="5" creationId="{14A2538D-0515-4508-B6B4-89744A2416D4}"/>
          </ac:spMkLst>
        </pc:spChg>
        <pc:graphicFrameChg chg="mod">
          <ac:chgData name="Steve Hord" userId="7478402321db30a2" providerId="LiveId" clId="{2BE8268A-D9D2-41A8-B4C6-48F6B669FF4C}" dt="2020-04-22T22:42:14.378" v="1067" actId="255"/>
          <ac:graphicFrameMkLst>
            <pc:docMk/>
            <pc:sldMk cId="2378945749" sldId="1491"/>
            <ac:graphicFrameMk id="4" creationId="{8E6A15FB-C436-4785-ACB8-B812481A9D36}"/>
          </ac:graphicFrameMkLst>
        </pc:graphicFrameChg>
      </pc:sldChg>
      <pc:sldChg chg="modSp modNotesTx">
        <pc:chgData name="Steve Hord" userId="7478402321db30a2" providerId="LiveId" clId="{2BE8268A-D9D2-41A8-B4C6-48F6B669FF4C}" dt="2020-04-22T23:39:44.141" v="1153" actId="113"/>
        <pc:sldMkLst>
          <pc:docMk/>
          <pc:sldMk cId="116317705" sldId="1492"/>
        </pc:sldMkLst>
        <pc:graphicFrameChg chg="mod">
          <ac:chgData name="Steve Hord" userId="7478402321db30a2" providerId="LiveId" clId="{2BE8268A-D9D2-41A8-B4C6-48F6B669FF4C}" dt="2020-04-22T23:38:18.751" v="1152" actId="20577"/>
          <ac:graphicFrameMkLst>
            <pc:docMk/>
            <pc:sldMk cId="116317705" sldId="1492"/>
            <ac:graphicFrameMk id="9" creationId="{F7CC1D9E-88F5-456E-993A-578CEA5E3534}"/>
          </ac:graphicFrameMkLst>
        </pc:graphicFrameChg>
      </pc:sldChg>
      <pc:sldChg chg="modSp">
        <pc:chgData name="Steve Hord" userId="7478402321db30a2" providerId="LiveId" clId="{2BE8268A-D9D2-41A8-B4C6-48F6B669FF4C}" dt="2020-04-22T22:43:55.713" v="1070" actId="255"/>
        <pc:sldMkLst>
          <pc:docMk/>
          <pc:sldMk cId="594598944" sldId="1494"/>
        </pc:sldMkLst>
        <pc:graphicFrameChg chg="mod">
          <ac:chgData name="Steve Hord" userId="7478402321db30a2" providerId="LiveId" clId="{2BE8268A-D9D2-41A8-B4C6-48F6B669FF4C}" dt="2020-04-22T22:43:55.713" v="1070" actId="255"/>
          <ac:graphicFrameMkLst>
            <pc:docMk/>
            <pc:sldMk cId="594598944" sldId="1494"/>
            <ac:graphicFrameMk id="6" creationId="{ECD4F830-3F57-4416-97C9-3E857291381E}"/>
          </ac:graphicFrameMkLst>
        </pc:graphicFrameChg>
      </pc:sldChg>
      <pc:sldChg chg="modSp">
        <pc:chgData name="Steve Hord" userId="7478402321db30a2" providerId="LiveId" clId="{2BE8268A-D9D2-41A8-B4C6-48F6B669FF4C}" dt="2020-04-22T20:33:42.389" v="736" actId="20577"/>
        <pc:sldMkLst>
          <pc:docMk/>
          <pc:sldMk cId="865064506" sldId="1498"/>
        </pc:sldMkLst>
        <pc:spChg chg="mod">
          <ac:chgData name="Steve Hord" userId="7478402321db30a2" providerId="LiveId" clId="{2BE8268A-D9D2-41A8-B4C6-48F6B669FF4C}" dt="2020-04-22T20:33:42.389" v="736" actId="20577"/>
          <ac:spMkLst>
            <pc:docMk/>
            <pc:sldMk cId="865064506" sldId="1498"/>
            <ac:spMk id="3" creationId="{4897B8F8-26DF-42FB-ACB0-59929F1C2344}"/>
          </ac:spMkLst>
        </pc:spChg>
      </pc:sldChg>
    </pc:docChg>
  </pc:docChgLst>
  <pc:docChgLst>
    <pc:chgData name="Batuhan Yildiz" userId="90f344fc-4655-4923-aeaf-697bba59c1a7" providerId="ADAL" clId="{C4D54E99-673C-43B2-A218-475B4FDEDCC6}"/>
    <pc:docChg chg="undo redo custSel addSld delSld modSld modSection">
      <pc:chgData name="Batuhan Yildiz" userId="90f344fc-4655-4923-aeaf-697bba59c1a7" providerId="ADAL" clId="{C4D54E99-673C-43B2-A218-475B4FDEDCC6}" dt="2020-05-22T08:36:41.260" v="547" actId="12100"/>
      <pc:docMkLst>
        <pc:docMk/>
      </pc:docMkLst>
      <pc:sldChg chg="modSp">
        <pc:chgData name="Batuhan Yildiz" userId="90f344fc-4655-4923-aeaf-697bba59c1a7" providerId="ADAL" clId="{C4D54E99-673C-43B2-A218-475B4FDEDCC6}" dt="2020-05-22T07:41:30.116" v="111" actId="14100"/>
        <pc:sldMkLst>
          <pc:docMk/>
          <pc:sldMk cId="3735096506" sldId="563"/>
        </pc:sldMkLst>
        <pc:graphicFrameChg chg="mod">
          <ac:chgData name="Batuhan Yildiz" userId="90f344fc-4655-4923-aeaf-697bba59c1a7" providerId="ADAL" clId="{C4D54E99-673C-43B2-A218-475B4FDEDCC6}" dt="2020-05-22T07:41:30.116" v="111" actId="14100"/>
          <ac:graphicFrameMkLst>
            <pc:docMk/>
            <pc:sldMk cId="3735096506" sldId="563"/>
            <ac:graphicFrameMk id="3" creationId="{9484E1FE-7534-495E-863C-657A46F5E628}"/>
          </ac:graphicFrameMkLst>
        </pc:graphicFrameChg>
      </pc:sldChg>
      <pc:sldChg chg="delSp modSp mod">
        <pc:chgData name="Batuhan Yildiz" userId="90f344fc-4655-4923-aeaf-697bba59c1a7" providerId="ADAL" clId="{C4D54E99-673C-43B2-A218-475B4FDEDCC6}" dt="2020-05-22T07:43:15.259" v="155" actId="14100"/>
        <pc:sldMkLst>
          <pc:docMk/>
          <pc:sldMk cId="4221783869" sldId="566"/>
        </pc:sldMkLst>
        <pc:spChg chg="del">
          <ac:chgData name="Batuhan Yildiz" userId="90f344fc-4655-4923-aeaf-697bba59c1a7" providerId="ADAL" clId="{C4D54E99-673C-43B2-A218-475B4FDEDCC6}" dt="2020-05-22T07:43:08.214" v="153" actId="478"/>
          <ac:spMkLst>
            <pc:docMk/>
            <pc:sldMk cId="4221783869" sldId="566"/>
            <ac:spMk id="3" creationId="{F35E8CBB-5A7D-4DEF-BAF7-8DD5D042F9E0}"/>
          </ac:spMkLst>
        </pc:spChg>
        <pc:graphicFrameChg chg="mod">
          <ac:chgData name="Batuhan Yildiz" userId="90f344fc-4655-4923-aeaf-697bba59c1a7" providerId="ADAL" clId="{C4D54E99-673C-43B2-A218-475B4FDEDCC6}" dt="2020-05-22T07:43:15.259" v="155" actId="14100"/>
          <ac:graphicFrameMkLst>
            <pc:docMk/>
            <pc:sldMk cId="4221783869" sldId="566"/>
            <ac:graphicFrameMk id="5" creationId="{25A6B57F-352F-4FDB-9602-F090C817F748}"/>
          </ac:graphicFrameMkLst>
        </pc:graphicFrameChg>
      </pc:sldChg>
      <pc:sldChg chg="modSp">
        <pc:chgData name="Batuhan Yildiz" userId="90f344fc-4655-4923-aeaf-697bba59c1a7" providerId="ADAL" clId="{C4D54E99-673C-43B2-A218-475B4FDEDCC6}" dt="2020-05-22T07:46:29.046" v="210" actId="14100"/>
        <pc:sldMkLst>
          <pc:docMk/>
          <pc:sldMk cId="4248838292" sldId="573"/>
        </pc:sldMkLst>
        <pc:graphicFrameChg chg="mod">
          <ac:chgData name="Batuhan Yildiz" userId="90f344fc-4655-4923-aeaf-697bba59c1a7" providerId="ADAL" clId="{C4D54E99-673C-43B2-A218-475B4FDEDCC6}" dt="2020-05-22T07:46:29.046" v="210" actId="14100"/>
          <ac:graphicFrameMkLst>
            <pc:docMk/>
            <pc:sldMk cId="4248838292" sldId="573"/>
            <ac:graphicFrameMk id="5" creationId="{1F83612F-0834-42B2-AA7B-98B8BAB0DB29}"/>
          </ac:graphicFrameMkLst>
        </pc:graphicFrameChg>
      </pc:sldChg>
      <pc:sldChg chg="modSp modNotesTx">
        <pc:chgData name="Batuhan Yildiz" userId="90f344fc-4655-4923-aeaf-697bba59c1a7" providerId="ADAL" clId="{C4D54E99-673C-43B2-A218-475B4FDEDCC6}" dt="2020-05-22T07:47:39.188" v="220" actId="14100"/>
        <pc:sldMkLst>
          <pc:docMk/>
          <pc:sldMk cId="4206133277" sldId="577"/>
        </pc:sldMkLst>
        <pc:graphicFrameChg chg="mod">
          <ac:chgData name="Batuhan Yildiz" userId="90f344fc-4655-4923-aeaf-697bba59c1a7" providerId="ADAL" clId="{C4D54E99-673C-43B2-A218-475B4FDEDCC6}" dt="2020-05-22T07:47:39.188" v="220" actId="14100"/>
          <ac:graphicFrameMkLst>
            <pc:docMk/>
            <pc:sldMk cId="4206133277" sldId="577"/>
            <ac:graphicFrameMk id="3" creationId="{9484E1FE-7534-495E-863C-657A46F5E628}"/>
          </ac:graphicFrameMkLst>
        </pc:graphicFrameChg>
      </pc:sldChg>
      <pc:sldChg chg="modSp">
        <pc:chgData name="Batuhan Yildiz" userId="90f344fc-4655-4923-aeaf-697bba59c1a7" providerId="ADAL" clId="{C4D54E99-673C-43B2-A218-475B4FDEDCC6}" dt="2020-05-22T08:08:43.096" v="415" actId="14100"/>
        <pc:sldMkLst>
          <pc:docMk/>
          <pc:sldMk cId="2551646555" sldId="580"/>
        </pc:sldMkLst>
        <pc:graphicFrameChg chg="mod">
          <ac:chgData name="Batuhan Yildiz" userId="90f344fc-4655-4923-aeaf-697bba59c1a7" providerId="ADAL" clId="{C4D54E99-673C-43B2-A218-475B4FDEDCC6}" dt="2020-05-22T08:08:43.096" v="415" actId="14100"/>
          <ac:graphicFrameMkLst>
            <pc:docMk/>
            <pc:sldMk cId="2551646555" sldId="580"/>
            <ac:graphicFrameMk id="13" creationId="{9EAD8C7B-06ED-4564-A856-55E63E551DB1}"/>
          </ac:graphicFrameMkLst>
        </pc:graphicFrameChg>
      </pc:sldChg>
      <pc:sldChg chg="modSp">
        <pc:chgData name="Batuhan Yildiz" userId="90f344fc-4655-4923-aeaf-697bba59c1a7" providerId="ADAL" clId="{C4D54E99-673C-43B2-A218-475B4FDEDCC6}" dt="2020-05-22T08:08:59.636" v="418" actId="14100"/>
        <pc:sldMkLst>
          <pc:docMk/>
          <pc:sldMk cId="2444463328" sldId="584"/>
        </pc:sldMkLst>
        <pc:graphicFrameChg chg="mod">
          <ac:chgData name="Batuhan Yildiz" userId="90f344fc-4655-4923-aeaf-697bba59c1a7" providerId="ADAL" clId="{C4D54E99-673C-43B2-A218-475B4FDEDCC6}" dt="2020-05-22T08:08:59.636" v="418" actId="14100"/>
          <ac:graphicFrameMkLst>
            <pc:docMk/>
            <pc:sldMk cId="2444463328" sldId="584"/>
            <ac:graphicFrameMk id="3" creationId="{9484E1FE-7534-495E-863C-657A46F5E628}"/>
          </ac:graphicFrameMkLst>
        </pc:graphicFrameChg>
      </pc:sldChg>
      <pc:sldChg chg="modSp">
        <pc:chgData name="Batuhan Yildiz" userId="90f344fc-4655-4923-aeaf-697bba59c1a7" providerId="ADAL" clId="{C4D54E99-673C-43B2-A218-475B4FDEDCC6}" dt="2020-05-22T08:13:05.130" v="448" actId="14100"/>
        <pc:sldMkLst>
          <pc:docMk/>
          <pc:sldMk cId="1737290916" sldId="591"/>
        </pc:sldMkLst>
        <pc:graphicFrameChg chg="mod">
          <ac:chgData name="Batuhan Yildiz" userId="90f344fc-4655-4923-aeaf-697bba59c1a7" providerId="ADAL" clId="{C4D54E99-673C-43B2-A218-475B4FDEDCC6}" dt="2020-05-22T08:13:05.130" v="448" actId="14100"/>
          <ac:graphicFrameMkLst>
            <pc:docMk/>
            <pc:sldMk cId="1737290916" sldId="591"/>
            <ac:graphicFrameMk id="3" creationId="{9484E1FE-7534-495E-863C-657A46F5E628}"/>
          </ac:graphicFrameMkLst>
        </pc:graphicFrameChg>
      </pc:sldChg>
      <pc:sldChg chg="modSp">
        <pc:chgData name="Batuhan Yildiz" userId="90f344fc-4655-4923-aeaf-697bba59c1a7" providerId="ADAL" clId="{C4D54E99-673C-43B2-A218-475B4FDEDCC6}" dt="2020-05-22T08:36:41.260" v="547" actId="12100"/>
        <pc:sldMkLst>
          <pc:docMk/>
          <pc:sldMk cId="1731718220" sldId="598"/>
        </pc:sldMkLst>
        <pc:graphicFrameChg chg="mod">
          <ac:chgData name="Batuhan Yildiz" userId="90f344fc-4655-4923-aeaf-697bba59c1a7" providerId="ADAL" clId="{C4D54E99-673C-43B2-A218-475B4FDEDCC6}" dt="2020-05-22T08:36:41.260" v="547" actId="12100"/>
          <ac:graphicFrameMkLst>
            <pc:docMk/>
            <pc:sldMk cId="1731718220" sldId="598"/>
            <ac:graphicFrameMk id="3" creationId="{9484E1FE-7534-495E-863C-657A46F5E628}"/>
          </ac:graphicFrameMkLst>
        </pc:graphicFrameChg>
      </pc:sldChg>
      <pc:sldChg chg="delSp mod">
        <pc:chgData name="Batuhan Yildiz" userId="90f344fc-4655-4923-aeaf-697bba59c1a7" providerId="ADAL" clId="{C4D54E99-673C-43B2-A218-475B4FDEDCC6}" dt="2020-05-22T07:30:50.433" v="28" actId="478"/>
        <pc:sldMkLst>
          <pc:docMk/>
          <pc:sldMk cId="2729675242" sldId="611"/>
        </pc:sldMkLst>
        <pc:spChg chg="del">
          <ac:chgData name="Batuhan Yildiz" userId="90f344fc-4655-4923-aeaf-697bba59c1a7" providerId="ADAL" clId="{C4D54E99-673C-43B2-A218-475B4FDEDCC6}" dt="2020-05-22T07:30:50.433" v="28" actId="478"/>
          <ac:spMkLst>
            <pc:docMk/>
            <pc:sldMk cId="2729675242" sldId="611"/>
            <ac:spMk id="13" creationId="{D7260519-9AF0-475F-87BB-4D177A02B600}"/>
          </ac:spMkLst>
        </pc:spChg>
      </pc:sldChg>
      <pc:sldChg chg="addSp delSp modSp mod modClrScheme chgLayout">
        <pc:chgData name="Batuhan Yildiz" userId="90f344fc-4655-4923-aeaf-697bba59c1a7" providerId="ADAL" clId="{C4D54E99-673C-43B2-A218-475B4FDEDCC6}" dt="2020-05-22T07:41:04.628" v="109" actId="1076"/>
        <pc:sldMkLst>
          <pc:docMk/>
          <pc:sldMk cId="3301692604" sldId="616"/>
        </pc:sldMkLst>
        <pc:spChg chg="mod ord">
          <ac:chgData name="Batuhan Yildiz" userId="90f344fc-4655-4923-aeaf-697bba59c1a7" providerId="ADAL" clId="{C4D54E99-673C-43B2-A218-475B4FDEDCC6}" dt="2020-05-22T07:31:54.030" v="33" actId="700"/>
          <ac:spMkLst>
            <pc:docMk/>
            <pc:sldMk cId="3301692604" sldId="616"/>
            <ac:spMk id="2" creationId="{EB67312A-9819-43C6-8D84-D9136E6CFFCC}"/>
          </ac:spMkLst>
        </pc:spChg>
        <pc:spChg chg="add del mod ord">
          <ac:chgData name="Batuhan Yildiz" userId="90f344fc-4655-4923-aeaf-697bba59c1a7" providerId="ADAL" clId="{C4D54E99-673C-43B2-A218-475B4FDEDCC6}" dt="2020-05-22T07:31:36.797" v="31" actId="700"/>
          <ac:spMkLst>
            <pc:docMk/>
            <pc:sldMk cId="3301692604" sldId="616"/>
            <ac:spMk id="3" creationId="{424CED57-F078-4C63-BEBC-CB00115A7198}"/>
          </ac:spMkLst>
        </pc:spChg>
        <pc:spChg chg="add del mod ord">
          <ac:chgData name="Batuhan Yildiz" userId="90f344fc-4655-4923-aeaf-697bba59c1a7" providerId="ADAL" clId="{C4D54E99-673C-43B2-A218-475B4FDEDCC6}" dt="2020-05-22T07:31:40.166" v="32" actId="478"/>
          <ac:spMkLst>
            <pc:docMk/>
            <pc:sldMk cId="3301692604" sldId="616"/>
            <ac:spMk id="4" creationId="{02DEF6C4-49D0-4473-BFD2-7B3551229818}"/>
          </ac:spMkLst>
        </pc:spChg>
        <pc:spChg chg="add mod ord">
          <ac:chgData name="Batuhan Yildiz" userId="90f344fc-4655-4923-aeaf-697bba59c1a7" providerId="ADAL" clId="{C4D54E99-673C-43B2-A218-475B4FDEDCC6}" dt="2020-05-22T07:32:13.487" v="36" actId="20577"/>
          <ac:spMkLst>
            <pc:docMk/>
            <pc:sldMk cId="3301692604" sldId="616"/>
            <ac:spMk id="5" creationId="{348671D4-9303-4AFE-9143-83F44EEE4B3E}"/>
          </ac:spMkLst>
        </pc:spChg>
        <pc:spChg chg="del">
          <ac:chgData name="Batuhan Yildiz" userId="90f344fc-4655-4923-aeaf-697bba59c1a7" providerId="ADAL" clId="{C4D54E99-673C-43B2-A218-475B4FDEDCC6}" dt="2020-05-22T07:31:17.633" v="29" actId="478"/>
          <ac:spMkLst>
            <pc:docMk/>
            <pc:sldMk cId="3301692604" sldId="616"/>
            <ac:spMk id="8" creationId="{A1A983F2-5871-48C1-95D4-E5D9ADD59778}"/>
          </ac:spMkLst>
        </pc:spChg>
        <pc:spChg chg="add mod">
          <ac:chgData name="Batuhan Yildiz" userId="90f344fc-4655-4923-aeaf-697bba59c1a7" providerId="ADAL" clId="{C4D54E99-673C-43B2-A218-475B4FDEDCC6}" dt="2020-05-22T07:40:48.345" v="106" actId="1076"/>
          <ac:spMkLst>
            <pc:docMk/>
            <pc:sldMk cId="3301692604" sldId="616"/>
            <ac:spMk id="9" creationId="{8FE072A3-BE3F-4104-9085-F3383EBCDF60}"/>
          </ac:spMkLst>
        </pc:spChg>
        <pc:spChg chg="add mod">
          <ac:chgData name="Batuhan Yildiz" userId="90f344fc-4655-4923-aeaf-697bba59c1a7" providerId="ADAL" clId="{C4D54E99-673C-43B2-A218-475B4FDEDCC6}" dt="2020-05-22T07:41:04.628" v="109" actId="1076"/>
          <ac:spMkLst>
            <pc:docMk/>
            <pc:sldMk cId="3301692604" sldId="616"/>
            <ac:spMk id="10" creationId="{503C4E2A-0F79-487E-9B1E-24A1C9FF7887}"/>
          </ac:spMkLst>
        </pc:spChg>
        <pc:graphicFrameChg chg="mod ord">
          <ac:chgData name="Batuhan Yildiz" userId="90f344fc-4655-4923-aeaf-697bba59c1a7" providerId="ADAL" clId="{C4D54E99-673C-43B2-A218-475B4FDEDCC6}" dt="2020-05-22T07:40:21.345" v="101" actId="12100"/>
          <ac:graphicFrameMkLst>
            <pc:docMk/>
            <pc:sldMk cId="3301692604" sldId="616"/>
            <ac:graphicFrameMk id="6" creationId="{5612EB1D-0D08-4DC1-A9CE-1B591A4F97E6}"/>
          </ac:graphicFrameMkLst>
        </pc:graphicFrameChg>
        <pc:picChg chg="mod">
          <ac:chgData name="Batuhan Yildiz" userId="90f344fc-4655-4923-aeaf-697bba59c1a7" providerId="ADAL" clId="{C4D54E99-673C-43B2-A218-475B4FDEDCC6}" dt="2020-05-22T07:39:53.640" v="99" actId="1076"/>
          <ac:picMkLst>
            <pc:docMk/>
            <pc:sldMk cId="3301692604" sldId="616"/>
            <ac:picMk id="7" creationId="{C89038E8-4C91-4844-9D94-B2693C6E7C0A}"/>
          </ac:picMkLst>
        </pc:picChg>
      </pc:sldChg>
      <pc:sldChg chg="modSp mod">
        <pc:chgData name="Batuhan Yildiz" userId="90f344fc-4655-4923-aeaf-697bba59c1a7" providerId="ADAL" clId="{C4D54E99-673C-43B2-A218-475B4FDEDCC6}" dt="2020-05-22T07:41:48.837" v="147" actId="947"/>
        <pc:sldMkLst>
          <pc:docMk/>
          <pc:sldMk cId="4187810366" sldId="622"/>
        </pc:sldMkLst>
        <pc:graphicFrameChg chg="modGraphic">
          <ac:chgData name="Batuhan Yildiz" userId="90f344fc-4655-4923-aeaf-697bba59c1a7" providerId="ADAL" clId="{C4D54E99-673C-43B2-A218-475B4FDEDCC6}" dt="2020-05-22T07:41:48.837" v="147" actId="947"/>
          <ac:graphicFrameMkLst>
            <pc:docMk/>
            <pc:sldMk cId="4187810366" sldId="622"/>
            <ac:graphicFrameMk id="7" creationId="{FBCEAB35-8B70-4C96-9DA5-8813406D2B2C}"/>
          </ac:graphicFrameMkLst>
        </pc:graphicFrameChg>
      </pc:sldChg>
      <pc:sldChg chg="delSp modSp mod">
        <pc:chgData name="Batuhan Yildiz" userId="90f344fc-4655-4923-aeaf-697bba59c1a7" providerId="ADAL" clId="{C4D54E99-673C-43B2-A218-475B4FDEDCC6}" dt="2020-05-22T07:42:46.492" v="152" actId="255"/>
        <pc:sldMkLst>
          <pc:docMk/>
          <pc:sldMk cId="1318002608" sldId="623"/>
        </pc:sldMkLst>
        <pc:spChg chg="del">
          <ac:chgData name="Batuhan Yildiz" userId="90f344fc-4655-4923-aeaf-697bba59c1a7" providerId="ADAL" clId="{C4D54E99-673C-43B2-A218-475B4FDEDCC6}" dt="2020-05-22T07:42:07.072" v="148" actId="478"/>
          <ac:spMkLst>
            <pc:docMk/>
            <pc:sldMk cId="1318002608" sldId="623"/>
            <ac:spMk id="3" creationId="{F35E8CBB-5A7D-4DEF-BAF7-8DD5D042F9E0}"/>
          </ac:spMkLst>
        </pc:spChg>
        <pc:graphicFrameChg chg="mod">
          <ac:chgData name="Batuhan Yildiz" userId="90f344fc-4655-4923-aeaf-697bba59c1a7" providerId="ADAL" clId="{C4D54E99-673C-43B2-A218-475B4FDEDCC6}" dt="2020-05-22T07:42:46.492" v="152" actId="255"/>
          <ac:graphicFrameMkLst>
            <pc:docMk/>
            <pc:sldMk cId="1318002608" sldId="623"/>
            <ac:graphicFrameMk id="6" creationId="{FE39FBFC-2347-4F5C-9A5B-6BC4070C7FFE}"/>
          </ac:graphicFrameMkLst>
        </pc:graphicFrameChg>
      </pc:sldChg>
      <pc:sldChg chg="delSp mod">
        <pc:chgData name="Batuhan Yildiz" userId="90f344fc-4655-4923-aeaf-697bba59c1a7" providerId="ADAL" clId="{C4D54E99-673C-43B2-A218-475B4FDEDCC6}" dt="2020-05-22T07:43:26.834" v="156" actId="478"/>
        <pc:sldMkLst>
          <pc:docMk/>
          <pc:sldMk cId="3250101842" sldId="625"/>
        </pc:sldMkLst>
        <pc:spChg chg="del">
          <ac:chgData name="Batuhan Yildiz" userId="90f344fc-4655-4923-aeaf-697bba59c1a7" providerId="ADAL" clId="{C4D54E99-673C-43B2-A218-475B4FDEDCC6}" dt="2020-05-22T07:43:26.834" v="156" actId="478"/>
          <ac:spMkLst>
            <pc:docMk/>
            <pc:sldMk cId="3250101842" sldId="625"/>
            <ac:spMk id="3" creationId="{F35E8CBB-5A7D-4DEF-BAF7-8DD5D042F9E0}"/>
          </ac:spMkLst>
        </pc:spChg>
      </pc:sldChg>
      <pc:sldChg chg="delSp mod">
        <pc:chgData name="Batuhan Yildiz" userId="90f344fc-4655-4923-aeaf-697bba59c1a7" providerId="ADAL" clId="{C4D54E99-673C-43B2-A218-475B4FDEDCC6}" dt="2020-05-22T07:43:39.224" v="157" actId="478"/>
        <pc:sldMkLst>
          <pc:docMk/>
          <pc:sldMk cId="2221033715" sldId="626"/>
        </pc:sldMkLst>
        <pc:spChg chg="del">
          <ac:chgData name="Batuhan Yildiz" userId="90f344fc-4655-4923-aeaf-697bba59c1a7" providerId="ADAL" clId="{C4D54E99-673C-43B2-A218-475B4FDEDCC6}" dt="2020-05-22T07:43:39.224" v="157" actId="478"/>
          <ac:spMkLst>
            <pc:docMk/>
            <pc:sldMk cId="2221033715" sldId="626"/>
            <ac:spMk id="3" creationId="{F35E8CBB-5A7D-4DEF-BAF7-8DD5D042F9E0}"/>
          </ac:spMkLst>
        </pc:spChg>
      </pc:sldChg>
      <pc:sldChg chg="delSp modSp mod">
        <pc:chgData name="Batuhan Yildiz" userId="90f344fc-4655-4923-aeaf-697bba59c1a7" providerId="ADAL" clId="{C4D54E99-673C-43B2-A218-475B4FDEDCC6}" dt="2020-05-22T07:44:43.101" v="161" actId="14100"/>
        <pc:sldMkLst>
          <pc:docMk/>
          <pc:sldMk cId="2095964457" sldId="627"/>
        </pc:sldMkLst>
        <pc:spChg chg="del">
          <ac:chgData name="Batuhan Yildiz" userId="90f344fc-4655-4923-aeaf-697bba59c1a7" providerId="ADAL" clId="{C4D54E99-673C-43B2-A218-475B4FDEDCC6}" dt="2020-05-22T07:43:49.474" v="158" actId="478"/>
          <ac:spMkLst>
            <pc:docMk/>
            <pc:sldMk cId="2095964457" sldId="627"/>
            <ac:spMk id="3" creationId="{F35E8CBB-5A7D-4DEF-BAF7-8DD5D042F9E0}"/>
          </ac:spMkLst>
        </pc:spChg>
        <pc:graphicFrameChg chg="mod">
          <ac:chgData name="Batuhan Yildiz" userId="90f344fc-4655-4923-aeaf-697bba59c1a7" providerId="ADAL" clId="{C4D54E99-673C-43B2-A218-475B4FDEDCC6}" dt="2020-05-22T07:44:43.101" v="161" actId="14100"/>
          <ac:graphicFrameMkLst>
            <pc:docMk/>
            <pc:sldMk cId="2095964457" sldId="627"/>
            <ac:graphicFrameMk id="7" creationId="{1178B55D-984E-41D0-A9BA-E9D52330A210}"/>
          </ac:graphicFrameMkLst>
        </pc:graphicFrameChg>
      </pc:sldChg>
      <pc:sldChg chg="delSp modSp mod">
        <pc:chgData name="Batuhan Yildiz" userId="90f344fc-4655-4923-aeaf-697bba59c1a7" providerId="ADAL" clId="{C4D54E99-673C-43B2-A218-475B4FDEDCC6}" dt="2020-05-22T07:45:46.526" v="203" actId="14100"/>
        <pc:sldMkLst>
          <pc:docMk/>
          <pc:sldMk cId="1324540104" sldId="629"/>
        </pc:sldMkLst>
        <pc:spChg chg="del">
          <ac:chgData name="Batuhan Yildiz" userId="90f344fc-4655-4923-aeaf-697bba59c1a7" providerId="ADAL" clId="{C4D54E99-673C-43B2-A218-475B4FDEDCC6}" dt="2020-05-22T07:45:42.538" v="202" actId="478"/>
          <ac:spMkLst>
            <pc:docMk/>
            <pc:sldMk cId="1324540104" sldId="629"/>
            <ac:spMk id="3" creationId="{F35E8CBB-5A7D-4DEF-BAF7-8DD5D042F9E0}"/>
          </ac:spMkLst>
        </pc:spChg>
        <pc:graphicFrameChg chg="mod">
          <ac:chgData name="Batuhan Yildiz" userId="90f344fc-4655-4923-aeaf-697bba59c1a7" providerId="ADAL" clId="{C4D54E99-673C-43B2-A218-475B4FDEDCC6}" dt="2020-05-22T07:45:46.526" v="203" actId="14100"/>
          <ac:graphicFrameMkLst>
            <pc:docMk/>
            <pc:sldMk cId="1324540104" sldId="629"/>
            <ac:graphicFrameMk id="5" creationId="{09EAD516-1026-4FE2-95B8-45F49E2A26BC}"/>
          </ac:graphicFrameMkLst>
        </pc:graphicFrameChg>
      </pc:sldChg>
      <pc:sldChg chg="delSp mod">
        <pc:chgData name="Batuhan Yildiz" userId="90f344fc-4655-4923-aeaf-697bba59c1a7" providerId="ADAL" clId="{C4D54E99-673C-43B2-A218-475B4FDEDCC6}" dt="2020-05-22T07:46:00.320" v="205" actId="478"/>
        <pc:sldMkLst>
          <pc:docMk/>
          <pc:sldMk cId="1470332785" sldId="634"/>
        </pc:sldMkLst>
        <pc:spChg chg="del">
          <ac:chgData name="Batuhan Yildiz" userId="90f344fc-4655-4923-aeaf-697bba59c1a7" providerId="ADAL" clId="{C4D54E99-673C-43B2-A218-475B4FDEDCC6}" dt="2020-05-22T07:46:00.320" v="205" actId="478"/>
          <ac:spMkLst>
            <pc:docMk/>
            <pc:sldMk cId="1470332785" sldId="634"/>
            <ac:spMk id="3" creationId="{F35E8CBB-5A7D-4DEF-BAF7-8DD5D042F9E0}"/>
          </ac:spMkLst>
        </pc:spChg>
      </pc:sldChg>
      <pc:sldChg chg="delSp mod">
        <pc:chgData name="Batuhan Yildiz" userId="90f344fc-4655-4923-aeaf-697bba59c1a7" providerId="ADAL" clId="{C4D54E99-673C-43B2-A218-475B4FDEDCC6}" dt="2020-05-22T07:46:09.091" v="207" actId="478"/>
        <pc:sldMkLst>
          <pc:docMk/>
          <pc:sldMk cId="3006177986" sldId="635"/>
        </pc:sldMkLst>
        <pc:spChg chg="del">
          <ac:chgData name="Batuhan Yildiz" userId="90f344fc-4655-4923-aeaf-697bba59c1a7" providerId="ADAL" clId="{C4D54E99-673C-43B2-A218-475B4FDEDCC6}" dt="2020-05-22T07:46:09.091" v="207" actId="478"/>
          <ac:spMkLst>
            <pc:docMk/>
            <pc:sldMk cId="3006177986" sldId="635"/>
            <ac:spMk id="3" creationId="{F35E8CBB-5A7D-4DEF-BAF7-8DD5D042F9E0}"/>
          </ac:spMkLst>
        </pc:spChg>
      </pc:sldChg>
      <pc:sldChg chg="delSp mod">
        <pc:chgData name="Batuhan Yildiz" userId="90f344fc-4655-4923-aeaf-697bba59c1a7" providerId="ADAL" clId="{C4D54E99-673C-43B2-A218-475B4FDEDCC6}" dt="2020-05-22T07:46:04.320" v="206" actId="478"/>
        <pc:sldMkLst>
          <pc:docMk/>
          <pc:sldMk cId="170750579" sldId="636"/>
        </pc:sldMkLst>
        <pc:spChg chg="del">
          <ac:chgData name="Batuhan Yildiz" userId="90f344fc-4655-4923-aeaf-697bba59c1a7" providerId="ADAL" clId="{C4D54E99-673C-43B2-A218-475B4FDEDCC6}" dt="2020-05-22T07:46:04.320" v="206" actId="478"/>
          <ac:spMkLst>
            <pc:docMk/>
            <pc:sldMk cId="170750579" sldId="636"/>
            <ac:spMk id="3" creationId="{F35E8CBB-5A7D-4DEF-BAF7-8DD5D042F9E0}"/>
          </ac:spMkLst>
        </pc:spChg>
      </pc:sldChg>
      <pc:sldChg chg="delSp mod">
        <pc:chgData name="Batuhan Yildiz" userId="90f344fc-4655-4923-aeaf-697bba59c1a7" providerId="ADAL" clId="{C4D54E99-673C-43B2-A218-475B4FDEDCC6}" dt="2020-05-22T07:46:50.782" v="213" actId="478"/>
        <pc:sldMkLst>
          <pc:docMk/>
          <pc:sldMk cId="2433819284" sldId="638"/>
        </pc:sldMkLst>
        <pc:spChg chg="del">
          <ac:chgData name="Batuhan Yildiz" userId="90f344fc-4655-4923-aeaf-697bba59c1a7" providerId="ADAL" clId="{C4D54E99-673C-43B2-A218-475B4FDEDCC6}" dt="2020-05-22T07:46:48.631" v="212" actId="478"/>
          <ac:spMkLst>
            <pc:docMk/>
            <pc:sldMk cId="2433819284" sldId="638"/>
            <ac:spMk id="3" creationId="{F35E8CBB-5A7D-4DEF-BAF7-8DD5D042F9E0}"/>
          </ac:spMkLst>
        </pc:spChg>
        <pc:spChg chg="del">
          <ac:chgData name="Batuhan Yildiz" userId="90f344fc-4655-4923-aeaf-697bba59c1a7" providerId="ADAL" clId="{C4D54E99-673C-43B2-A218-475B4FDEDCC6}" dt="2020-05-22T07:46:50.782" v="213" actId="478"/>
          <ac:spMkLst>
            <pc:docMk/>
            <pc:sldMk cId="2433819284" sldId="638"/>
            <ac:spMk id="4" creationId="{F3616A99-090F-45E1-9334-58D58B148205}"/>
          </ac:spMkLst>
        </pc:spChg>
      </pc:sldChg>
      <pc:sldChg chg="delSp mod">
        <pc:chgData name="Batuhan Yildiz" userId="90f344fc-4655-4923-aeaf-697bba59c1a7" providerId="ADAL" clId="{C4D54E99-673C-43B2-A218-475B4FDEDCC6}" dt="2020-05-22T07:46:56.588" v="214" actId="478"/>
        <pc:sldMkLst>
          <pc:docMk/>
          <pc:sldMk cId="732669774" sldId="639"/>
        </pc:sldMkLst>
        <pc:spChg chg="del">
          <ac:chgData name="Batuhan Yildiz" userId="90f344fc-4655-4923-aeaf-697bba59c1a7" providerId="ADAL" clId="{C4D54E99-673C-43B2-A218-475B4FDEDCC6}" dt="2020-05-22T07:46:56.588" v="214" actId="478"/>
          <ac:spMkLst>
            <pc:docMk/>
            <pc:sldMk cId="732669774" sldId="639"/>
            <ac:spMk id="3" creationId="{F35E8CBB-5A7D-4DEF-BAF7-8DD5D042F9E0}"/>
          </ac:spMkLst>
        </pc:spChg>
      </pc:sldChg>
      <pc:sldChg chg="delSp mod">
        <pc:chgData name="Batuhan Yildiz" userId="90f344fc-4655-4923-aeaf-697bba59c1a7" providerId="ADAL" clId="{C4D54E99-673C-43B2-A218-475B4FDEDCC6}" dt="2020-05-22T07:47:04.881" v="215" actId="478"/>
        <pc:sldMkLst>
          <pc:docMk/>
          <pc:sldMk cId="3930368789" sldId="640"/>
        </pc:sldMkLst>
        <pc:spChg chg="del">
          <ac:chgData name="Batuhan Yildiz" userId="90f344fc-4655-4923-aeaf-697bba59c1a7" providerId="ADAL" clId="{C4D54E99-673C-43B2-A218-475B4FDEDCC6}" dt="2020-05-22T07:47:04.881" v="215" actId="478"/>
          <ac:spMkLst>
            <pc:docMk/>
            <pc:sldMk cId="3930368789" sldId="640"/>
            <ac:spMk id="3" creationId="{F35E8CBB-5A7D-4DEF-BAF7-8DD5D042F9E0}"/>
          </ac:spMkLst>
        </pc:spChg>
      </pc:sldChg>
      <pc:sldChg chg="delSp modSp mod">
        <pc:chgData name="Batuhan Yildiz" userId="90f344fc-4655-4923-aeaf-697bba59c1a7" providerId="ADAL" clId="{C4D54E99-673C-43B2-A218-475B4FDEDCC6}" dt="2020-05-22T07:47:13.345" v="217" actId="12100"/>
        <pc:sldMkLst>
          <pc:docMk/>
          <pc:sldMk cId="172937384" sldId="641"/>
        </pc:sldMkLst>
        <pc:spChg chg="del">
          <ac:chgData name="Batuhan Yildiz" userId="90f344fc-4655-4923-aeaf-697bba59c1a7" providerId="ADAL" clId="{C4D54E99-673C-43B2-A218-475B4FDEDCC6}" dt="2020-05-22T07:47:08.297" v="216" actId="478"/>
          <ac:spMkLst>
            <pc:docMk/>
            <pc:sldMk cId="172937384" sldId="641"/>
            <ac:spMk id="3" creationId="{F35E8CBB-5A7D-4DEF-BAF7-8DD5D042F9E0}"/>
          </ac:spMkLst>
        </pc:spChg>
        <pc:graphicFrameChg chg="mod">
          <ac:chgData name="Batuhan Yildiz" userId="90f344fc-4655-4923-aeaf-697bba59c1a7" providerId="ADAL" clId="{C4D54E99-673C-43B2-A218-475B4FDEDCC6}" dt="2020-05-22T07:47:13.345" v="217" actId="12100"/>
          <ac:graphicFrameMkLst>
            <pc:docMk/>
            <pc:sldMk cId="172937384" sldId="641"/>
            <ac:graphicFrameMk id="6" creationId="{18B894D6-E22E-4CFC-A540-F16B2A407F36}"/>
          </ac:graphicFrameMkLst>
        </pc:graphicFrameChg>
      </pc:sldChg>
      <pc:sldChg chg="delSp mod">
        <pc:chgData name="Batuhan Yildiz" userId="90f344fc-4655-4923-aeaf-697bba59c1a7" providerId="ADAL" clId="{C4D54E99-673C-43B2-A218-475B4FDEDCC6}" dt="2020-05-22T07:47:18.398" v="218" actId="478"/>
        <pc:sldMkLst>
          <pc:docMk/>
          <pc:sldMk cId="3714785798" sldId="642"/>
        </pc:sldMkLst>
        <pc:spChg chg="del">
          <ac:chgData name="Batuhan Yildiz" userId="90f344fc-4655-4923-aeaf-697bba59c1a7" providerId="ADAL" clId="{C4D54E99-673C-43B2-A218-475B4FDEDCC6}" dt="2020-05-22T07:47:18.398" v="218" actId="478"/>
          <ac:spMkLst>
            <pc:docMk/>
            <pc:sldMk cId="3714785798" sldId="642"/>
            <ac:spMk id="3" creationId="{F35E8CBB-5A7D-4DEF-BAF7-8DD5D042F9E0}"/>
          </ac:spMkLst>
        </pc:spChg>
      </pc:sldChg>
      <pc:sldChg chg="delSp mod">
        <pc:chgData name="Batuhan Yildiz" userId="90f344fc-4655-4923-aeaf-697bba59c1a7" providerId="ADAL" clId="{C4D54E99-673C-43B2-A218-475B4FDEDCC6}" dt="2020-05-22T08:11:49.021" v="438" actId="478"/>
        <pc:sldMkLst>
          <pc:docMk/>
          <pc:sldMk cId="3559491282" sldId="644"/>
        </pc:sldMkLst>
        <pc:spChg chg="del">
          <ac:chgData name="Batuhan Yildiz" userId="90f344fc-4655-4923-aeaf-697bba59c1a7" providerId="ADAL" clId="{C4D54E99-673C-43B2-A218-475B4FDEDCC6}" dt="2020-05-22T08:11:49.021" v="438" actId="478"/>
          <ac:spMkLst>
            <pc:docMk/>
            <pc:sldMk cId="3559491282" sldId="644"/>
            <ac:spMk id="3" creationId="{F35E8CBB-5A7D-4DEF-BAF7-8DD5D042F9E0}"/>
          </ac:spMkLst>
        </pc:spChg>
      </pc:sldChg>
      <pc:sldChg chg="delSp mod">
        <pc:chgData name="Batuhan Yildiz" userId="90f344fc-4655-4923-aeaf-697bba59c1a7" providerId="ADAL" clId="{C4D54E99-673C-43B2-A218-475B4FDEDCC6}" dt="2020-05-22T08:12:00.203" v="439" actId="478"/>
        <pc:sldMkLst>
          <pc:docMk/>
          <pc:sldMk cId="3740111246" sldId="645"/>
        </pc:sldMkLst>
        <pc:spChg chg="del">
          <ac:chgData name="Batuhan Yildiz" userId="90f344fc-4655-4923-aeaf-697bba59c1a7" providerId="ADAL" clId="{C4D54E99-673C-43B2-A218-475B4FDEDCC6}" dt="2020-05-22T08:12:00.203" v="439" actId="478"/>
          <ac:spMkLst>
            <pc:docMk/>
            <pc:sldMk cId="3740111246" sldId="645"/>
            <ac:spMk id="3" creationId="{F35E8CBB-5A7D-4DEF-BAF7-8DD5D042F9E0}"/>
          </ac:spMkLst>
        </pc:spChg>
      </pc:sldChg>
      <pc:sldChg chg="delSp modSp mod">
        <pc:chgData name="Batuhan Yildiz" userId="90f344fc-4655-4923-aeaf-697bba59c1a7" providerId="ADAL" clId="{C4D54E99-673C-43B2-A218-475B4FDEDCC6}" dt="2020-05-22T08:12:19.189" v="442" actId="12100"/>
        <pc:sldMkLst>
          <pc:docMk/>
          <pc:sldMk cId="3406017694" sldId="646"/>
        </pc:sldMkLst>
        <pc:spChg chg="del">
          <ac:chgData name="Batuhan Yildiz" userId="90f344fc-4655-4923-aeaf-697bba59c1a7" providerId="ADAL" clId="{C4D54E99-673C-43B2-A218-475B4FDEDCC6}" dt="2020-05-22T08:12:11.512" v="440" actId="478"/>
          <ac:spMkLst>
            <pc:docMk/>
            <pc:sldMk cId="3406017694" sldId="646"/>
            <ac:spMk id="3" creationId="{F35E8CBB-5A7D-4DEF-BAF7-8DD5D042F9E0}"/>
          </ac:spMkLst>
        </pc:spChg>
        <pc:graphicFrameChg chg="mod">
          <ac:chgData name="Batuhan Yildiz" userId="90f344fc-4655-4923-aeaf-697bba59c1a7" providerId="ADAL" clId="{C4D54E99-673C-43B2-A218-475B4FDEDCC6}" dt="2020-05-22T08:12:19.189" v="442" actId="12100"/>
          <ac:graphicFrameMkLst>
            <pc:docMk/>
            <pc:sldMk cId="3406017694" sldId="646"/>
            <ac:graphicFrameMk id="6" creationId="{41AC8C61-B717-4C41-B581-C2B4D565FD9A}"/>
          </ac:graphicFrameMkLst>
        </pc:graphicFrameChg>
      </pc:sldChg>
      <pc:sldChg chg="delSp mod">
        <pc:chgData name="Batuhan Yildiz" userId="90f344fc-4655-4923-aeaf-697bba59c1a7" providerId="ADAL" clId="{C4D54E99-673C-43B2-A218-475B4FDEDCC6}" dt="2020-05-22T08:12:26.761" v="443" actId="478"/>
        <pc:sldMkLst>
          <pc:docMk/>
          <pc:sldMk cId="2150837780" sldId="647"/>
        </pc:sldMkLst>
        <pc:spChg chg="del">
          <ac:chgData name="Batuhan Yildiz" userId="90f344fc-4655-4923-aeaf-697bba59c1a7" providerId="ADAL" clId="{C4D54E99-673C-43B2-A218-475B4FDEDCC6}" dt="2020-05-22T08:12:26.761" v="443" actId="478"/>
          <ac:spMkLst>
            <pc:docMk/>
            <pc:sldMk cId="2150837780" sldId="647"/>
            <ac:spMk id="3" creationId="{F35E8CBB-5A7D-4DEF-BAF7-8DD5D042F9E0}"/>
          </ac:spMkLst>
        </pc:spChg>
      </pc:sldChg>
      <pc:sldChg chg="delSp mod">
        <pc:chgData name="Batuhan Yildiz" userId="90f344fc-4655-4923-aeaf-697bba59c1a7" providerId="ADAL" clId="{C4D54E99-673C-43B2-A218-475B4FDEDCC6}" dt="2020-05-22T08:12:40.286" v="444" actId="478"/>
        <pc:sldMkLst>
          <pc:docMk/>
          <pc:sldMk cId="2721394381" sldId="648"/>
        </pc:sldMkLst>
        <pc:spChg chg="del">
          <ac:chgData name="Batuhan Yildiz" userId="90f344fc-4655-4923-aeaf-697bba59c1a7" providerId="ADAL" clId="{C4D54E99-673C-43B2-A218-475B4FDEDCC6}" dt="2020-05-22T08:12:40.286" v="444" actId="478"/>
          <ac:spMkLst>
            <pc:docMk/>
            <pc:sldMk cId="2721394381" sldId="648"/>
            <ac:spMk id="3" creationId="{F35E8CBB-5A7D-4DEF-BAF7-8DD5D042F9E0}"/>
          </ac:spMkLst>
        </pc:spChg>
      </pc:sldChg>
      <pc:sldChg chg="delSp mod">
        <pc:chgData name="Batuhan Yildiz" userId="90f344fc-4655-4923-aeaf-697bba59c1a7" providerId="ADAL" clId="{C4D54E99-673C-43B2-A218-475B4FDEDCC6}" dt="2020-05-22T08:12:48.510" v="446" actId="478"/>
        <pc:sldMkLst>
          <pc:docMk/>
          <pc:sldMk cId="3526675307" sldId="649"/>
        </pc:sldMkLst>
        <pc:spChg chg="del">
          <ac:chgData name="Batuhan Yildiz" userId="90f344fc-4655-4923-aeaf-697bba59c1a7" providerId="ADAL" clId="{C4D54E99-673C-43B2-A218-475B4FDEDCC6}" dt="2020-05-22T08:12:45.815" v="445" actId="478"/>
          <ac:spMkLst>
            <pc:docMk/>
            <pc:sldMk cId="3526675307" sldId="649"/>
            <ac:spMk id="3" creationId="{F35E8CBB-5A7D-4DEF-BAF7-8DD5D042F9E0}"/>
          </ac:spMkLst>
        </pc:spChg>
        <pc:spChg chg="del">
          <ac:chgData name="Batuhan Yildiz" userId="90f344fc-4655-4923-aeaf-697bba59c1a7" providerId="ADAL" clId="{C4D54E99-673C-43B2-A218-475B4FDEDCC6}" dt="2020-05-22T08:12:48.510" v="446" actId="478"/>
          <ac:spMkLst>
            <pc:docMk/>
            <pc:sldMk cId="3526675307" sldId="649"/>
            <ac:spMk id="4" creationId="{F3616A99-090F-45E1-9334-58D58B148205}"/>
          </ac:spMkLst>
        </pc:spChg>
      </pc:sldChg>
      <pc:sldChg chg="delSp modSp mod">
        <pc:chgData name="Batuhan Yildiz" userId="90f344fc-4655-4923-aeaf-697bba59c1a7" providerId="ADAL" clId="{C4D54E99-673C-43B2-A218-475B4FDEDCC6}" dt="2020-05-22T08:09:12.908" v="420" actId="12100"/>
        <pc:sldMkLst>
          <pc:docMk/>
          <pc:sldMk cId="414429562" sldId="652"/>
        </pc:sldMkLst>
        <pc:spChg chg="del">
          <ac:chgData name="Batuhan Yildiz" userId="90f344fc-4655-4923-aeaf-697bba59c1a7" providerId="ADAL" clId="{C4D54E99-673C-43B2-A218-475B4FDEDCC6}" dt="2020-05-22T08:09:07.738" v="419" actId="478"/>
          <ac:spMkLst>
            <pc:docMk/>
            <pc:sldMk cId="414429562" sldId="652"/>
            <ac:spMk id="3" creationId="{F35E8CBB-5A7D-4DEF-BAF7-8DD5D042F9E0}"/>
          </ac:spMkLst>
        </pc:spChg>
        <pc:graphicFrameChg chg="mod">
          <ac:chgData name="Batuhan Yildiz" userId="90f344fc-4655-4923-aeaf-697bba59c1a7" providerId="ADAL" clId="{C4D54E99-673C-43B2-A218-475B4FDEDCC6}" dt="2020-05-22T08:09:12.908" v="420" actId="12100"/>
          <ac:graphicFrameMkLst>
            <pc:docMk/>
            <pc:sldMk cId="414429562" sldId="652"/>
            <ac:graphicFrameMk id="7" creationId="{8E814E8D-720B-47C9-8A1F-4441C2B85411}"/>
          </ac:graphicFrameMkLst>
        </pc:graphicFrameChg>
      </pc:sldChg>
      <pc:sldChg chg="delSp mod">
        <pc:chgData name="Batuhan Yildiz" userId="90f344fc-4655-4923-aeaf-697bba59c1a7" providerId="ADAL" clId="{C4D54E99-673C-43B2-A218-475B4FDEDCC6}" dt="2020-05-22T08:09:18.499" v="421" actId="478"/>
        <pc:sldMkLst>
          <pc:docMk/>
          <pc:sldMk cId="2508506295" sldId="653"/>
        </pc:sldMkLst>
        <pc:spChg chg="del">
          <ac:chgData name="Batuhan Yildiz" userId="90f344fc-4655-4923-aeaf-697bba59c1a7" providerId="ADAL" clId="{C4D54E99-673C-43B2-A218-475B4FDEDCC6}" dt="2020-05-22T08:09:18.499" v="421" actId="478"/>
          <ac:spMkLst>
            <pc:docMk/>
            <pc:sldMk cId="2508506295" sldId="653"/>
            <ac:spMk id="3" creationId="{F35E8CBB-5A7D-4DEF-BAF7-8DD5D042F9E0}"/>
          </ac:spMkLst>
        </pc:spChg>
      </pc:sldChg>
      <pc:sldChg chg="delSp mod">
        <pc:chgData name="Batuhan Yildiz" userId="90f344fc-4655-4923-aeaf-697bba59c1a7" providerId="ADAL" clId="{C4D54E99-673C-43B2-A218-475B4FDEDCC6}" dt="2020-05-22T08:09:26.899" v="422" actId="478"/>
        <pc:sldMkLst>
          <pc:docMk/>
          <pc:sldMk cId="668974516" sldId="654"/>
        </pc:sldMkLst>
        <pc:spChg chg="del">
          <ac:chgData name="Batuhan Yildiz" userId="90f344fc-4655-4923-aeaf-697bba59c1a7" providerId="ADAL" clId="{C4D54E99-673C-43B2-A218-475B4FDEDCC6}" dt="2020-05-22T08:09:26.899" v="422" actId="478"/>
          <ac:spMkLst>
            <pc:docMk/>
            <pc:sldMk cId="668974516" sldId="654"/>
            <ac:spMk id="3" creationId="{F35E8CBB-5A7D-4DEF-BAF7-8DD5D042F9E0}"/>
          </ac:spMkLst>
        </pc:spChg>
      </pc:sldChg>
      <pc:sldChg chg="delSp modSp mod modClrScheme chgLayout">
        <pc:chgData name="Batuhan Yildiz" userId="90f344fc-4655-4923-aeaf-697bba59c1a7" providerId="ADAL" clId="{C4D54E99-673C-43B2-A218-475B4FDEDCC6}" dt="2020-05-22T08:10:28.647" v="430" actId="1076"/>
        <pc:sldMkLst>
          <pc:docMk/>
          <pc:sldMk cId="2471988427" sldId="656"/>
        </pc:sldMkLst>
        <pc:spChg chg="mod ord">
          <ac:chgData name="Batuhan Yildiz" userId="90f344fc-4655-4923-aeaf-697bba59c1a7" providerId="ADAL" clId="{C4D54E99-673C-43B2-A218-475B4FDEDCC6}" dt="2020-05-22T08:09:41.634" v="424" actId="700"/>
          <ac:spMkLst>
            <pc:docMk/>
            <pc:sldMk cId="2471988427" sldId="656"/>
            <ac:spMk id="2" creationId="{EB67312A-9819-43C6-8D84-D9136E6CFFCC}"/>
          </ac:spMkLst>
        </pc:spChg>
        <pc:spChg chg="del">
          <ac:chgData name="Batuhan Yildiz" userId="90f344fc-4655-4923-aeaf-697bba59c1a7" providerId="ADAL" clId="{C4D54E99-673C-43B2-A218-475B4FDEDCC6}" dt="2020-05-22T08:09:31.568" v="423" actId="478"/>
          <ac:spMkLst>
            <pc:docMk/>
            <pc:sldMk cId="2471988427" sldId="656"/>
            <ac:spMk id="3" creationId="{F35E8CBB-5A7D-4DEF-BAF7-8DD5D042F9E0}"/>
          </ac:spMkLst>
        </pc:spChg>
        <pc:spChg chg="mod ord">
          <ac:chgData name="Batuhan Yildiz" userId="90f344fc-4655-4923-aeaf-697bba59c1a7" providerId="ADAL" clId="{C4D54E99-673C-43B2-A218-475B4FDEDCC6}" dt="2020-05-22T08:10:07.633" v="427" actId="1076"/>
          <ac:spMkLst>
            <pc:docMk/>
            <pc:sldMk cId="2471988427" sldId="656"/>
            <ac:spMk id="4" creationId="{F3616A99-090F-45E1-9334-58D58B148205}"/>
          </ac:spMkLst>
        </pc:spChg>
        <pc:spChg chg="mod">
          <ac:chgData name="Batuhan Yildiz" userId="90f344fc-4655-4923-aeaf-697bba59c1a7" providerId="ADAL" clId="{C4D54E99-673C-43B2-A218-475B4FDEDCC6}" dt="2020-05-22T08:10:28.647" v="430" actId="1076"/>
          <ac:spMkLst>
            <pc:docMk/>
            <pc:sldMk cId="2471988427" sldId="656"/>
            <ac:spMk id="6" creationId="{52A792B6-1B28-444F-8A7C-2727FAFF8B02}"/>
          </ac:spMkLst>
        </pc:spChg>
      </pc:sldChg>
      <pc:sldChg chg="delSp modSp mod">
        <pc:chgData name="Batuhan Yildiz" userId="90f344fc-4655-4923-aeaf-697bba59c1a7" providerId="ADAL" clId="{C4D54E99-673C-43B2-A218-475B4FDEDCC6}" dt="2020-05-22T08:11:02.743" v="432" actId="1076"/>
        <pc:sldMkLst>
          <pc:docMk/>
          <pc:sldMk cId="1683744399" sldId="657"/>
        </pc:sldMkLst>
        <pc:spChg chg="del">
          <ac:chgData name="Batuhan Yildiz" userId="90f344fc-4655-4923-aeaf-697bba59c1a7" providerId="ADAL" clId="{C4D54E99-673C-43B2-A218-475B4FDEDCC6}" dt="2020-05-22T08:10:52.890" v="431" actId="478"/>
          <ac:spMkLst>
            <pc:docMk/>
            <pc:sldMk cId="1683744399" sldId="657"/>
            <ac:spMk id="3" creationId="{F35E8CBB-5A7D-4DEF-BAF7-8DD5D042F9E0}"/>
          </ac:spMkLst>
        </pc:spChg>
        <pc:spChg chg="mod">
          <ac:chgData name="Batuhan Yildiz" userId="90f344fc-4655-4923-aeaf-697bba59c1a7" providerId="ADAL" clId="{C4D54E99-673C-43B2-A218-475B4FDEDCC6}" dt="2020-05-22T08:11:02.743" v="432" actId="1076"/>
          <ac:spMkLst>
            <pc:docMk/>
            <pc:sldMk cId="1683744399" sldId="657"/>
            <ac:spMk id="6" creationId="{52A792B6-1B28-444F-8A7C-2727FAFF8B02}"/>
          </ac:spMkLst>
        </pc:spChg>
      </pc:sldChg>
      <pc:sldChg chg="delSp mod">
        <pc:chgData name="Batuhan Yildiz" userId="90f344fc-4655-4923-aeaf-697bba59c1a7" providerId="ADAL" clId="{C4D54E99-673C-43B2-A218-475B4FDEDCC6}" dt="2020-05-22T08:11:12.422" v="433" actId="478"/>
        <pc:sldMkLst>
          <pc:docMk/>
          <pc:sldMk cId="2861098357" sldId="659"/>
        </pc:sldMkLst>
        <pc:spChg chg="del">
          <ac:chgData name="Batuhan Yildiz" userId="90f344fc-4655-4923-aeaf-697bba59c1a7" providerId="ADAL" clId="{C4D54E99-673C-43B2-A218-475B4FDEDCC6}" dt="2020-05-22T08:11:12.422" v="433" actId="478"/>
          <ac:spMkLst>
            <pc:docMk/>
            <pc:sldMk cId="2861098357" sldId="659"/>
            <ac:spMk id="3" creationId="{F35E8CBB-5A7D-4DEF-BAF7-8DD5D042F9E0}"/>
          </ac:spMkLst>
        </pc:spChg>
      </pc:sldChg>
      <pc:sldChg chg="delSp modSp mod">
        <pc:chgData name="Batuhan Yildiz" userId="90f344fc-4655-4923-aeaf-697bba59c1a7" providerId="ADAL" clId="{C4D54E99-673C-43B2-A218-475B4FDEDCC6}" dt="2020-05-22T08:11:26.278" v="436" actId="14100"/>
        <pc:sldMkLst>
          <pc:docMk/>
          <pc:sldMk cId="79963935" sldId="662"/>
        </pc:sldMkLst>
        <pc:spChg chg="del">
          <ac:chgData name="Batuhan Yildiz" userId="90f344fc-4655-4923-aeaf-697bba59c1a7" providerId="ADAL" clId="{C4D54E99-673C-43B2-A218-475B4FDEDCC6}" dt="2020-05-22T08:11:19.242" v="434" actId="478"/>
          <ac:spMkLst>
            <pc:docMk/>
            <pc:sldMk cId="79963935" sldId="662"/>
            <ac:spMk id="3" creationId="{F35E8CBB-5A7D-4DEF-BAF7-8DD5D042F9E0}"/>
          </ac:spMkLst>
        </pc:spChg>
        <pc:graphicFrameChg chg="mod">
          <ac:chgData name="Batuhan Yildiz" userId="90f344fc-4655-4923-aeaf-697bba59c1a7" providerId="ADAL" clId="{C4D54E99-673C-43B2-A218-475B4FDEDCC6}" dt="2020-05-22T08:11:26.278" v="436" actId="14100"/>
          <ac:graphicFrameMkLst>
            <pc:docMk/>
            <pc:sldMk cId="79963935" sldId="662"/>
            <ac:graphicFrameMk id="5" creationId="{B4176FC8-D990-4BE6-9629-E246FC64ACDF}"/>
          </ac:graphicFrameMkLst>
        </pc:graphicFrameChg>
      </pc:sldChg>
      <pc:sldChg chg="delSp mod">
        <pc:chgData name="Batuhan Yildiz" userId="90f344fc-4655-4923-aeaf-697bba59c1a7" providerId="ADAL" clId="{C4D54E99-673C-43B2-A218-475B4FDEDCC6}" dt="2020-05-22T08:11:35.973" v="437" actId="478"/>
        <pc:sldMkLst>
          <pc:docMk/>
          <pc:sldMk cId="729790534" sldId="663"/>
        </pc:sldMkLst>
        <pc:spChg chg="del">
          <ac:chgData name="Batuhan Yildiz" userId="90f344fc-4655-4923-aeaf-697bba59c1a7" providerId="ADAL" clId="{C4D54E99-673C-43B2-A218-475B4FDEDCC6}" dt="2020-05-22T08:11:35.973" v="437" actId="478"/>
          <ac:spMkLst>
            <pc:docMk/>
            <pc:sldMk cId="729790534" sldId="663"/>
            <ac:spMk id="3" creationId="{F35E8CBB-5A7D-4DEF-BAF7-8DD5D042F9E0}"/>
          </ac:spMkLst>
        </pc:spChg>
      </pc:sldChg>
      <pc:sldChg chg="delSp modSp mod">
        <pc:chgData name="Batuhan Yildiz" userId="90f344fc-4655-4923-aeaf-697bba59c1a7" providerId="ADAL" clId="{C4D54E99-673C-43B2-A218-475B4FDEDCC6}" dt="2020-05-22T07:45:19.479" v="201" actId="1035"/>
        <pc:sldMkLst>
          <pc:docMk/>
          <pc:sldMk cId="1743105056" sldId="665"/>
        </pc:sldMkLst>
        <pc:spChg chg="del">
          <ac:chgData name="Batuhan Yildiz" userId="90f344fc-4655-4923-aeaf-697bba59c1a7" providerId="ADAL" clId="{C4D54E99-673C-43B2-A218-475B4FDEDCC6}" dt="2020-05-22T07:44:52.499" v="162" actId="478"/>
          <ac:spMkLst>
            <pc:docMk/>
            <pc:sldMk cId="1743105056" sldId="665"/>
            <ac:spMk id="3" creationId="{F35E8CBB-5A7D-4DEF-BAF7-8DD5D042F9E0}"/>
          </ac:spMkLst>
        </pc:spChg>
        <pc:graphicFrameChg chg="mod">
          <ac:chgData name="Batuhan Yildiz" userId="90f344fc-4655-4923-aeaf-697bba59c1a7" providerId="ADAL" clId="{C4D54E99-673C-43B2-A218-475B4FDEDCC6}" dt="2020-05-22T07:45:09.542" v="165" actId="14100"/>
          <ac:graphicFrameMkLst>
            <pc:docMk/>
            <pc:sldMk cId="1743105056" sldId="665"/>
            <ac:graphicFrameMk id="7" creationId="{1178B55D-984E-41D0-A9BA-E9D52330A210}"/>
          </ac:graphicFrameMkLst>
        </pc:graphicFrameChg>
        <pc:picChg chg="mod">
          <ac:chgData name="Batuhan Yildiz" userId="90f344fc-4655-4923-aeaf-697bba59c1a7" providerId="ADAL" clId="{C4D54E99-673C-43B2-A218-475B4FDEDCC6}" dt="2020-05-22T07:45:19.479" v="201" actId="1035"/>
          <ac:picMkLst>
            <pc:docMk/>
            <pc:sldMk cId="1743105056" sldId="665"/>
            <ac:picMk id="5" creationId="{7FDD11C2-655E-456D-8526-AFF8A2578B77}"/>
          </ac:picMkLst>
        </pc:picChg>
      </pc:sldChg>
      <pc:sldChg chg="delSp mod">
        <pc:chgData name="Batuhan Yildiz" userId="90f344fc-4655-4923-aeaf-697bba59c1a7" providerId="ADAL" clId="{C4D54E99-673C-43B2-A218-475B4FDEDCC6}" dt="2020-05-22T07:45:52.419" v="204" actId="478"/>
        <pc:sldMkLst>
          <pc:docMk/>
          <pc:sldMk cId="3922378719" sldId="666"/>
        </pc:sldMkLst>
        <pc:spChg chg="del">
          <ac:chgData name="Batuhan Yildiz" userId="90f344fc-4655-4923-aeaf-697bba59c1a7" providerId="ADAL" clId="{C4D54E99-673C-43B2-A218-475B4FDEDCC6}" dt="2020-05-22T07:45:52.419" v="204" actId="478"/>
          <ac:spMkLst>
            <pc:docMk/>
            <pc:sldMk cId="3922378719" sldId="666"/>
            <ac:spMk id="3" creationId="{F35E8CBB-5A7D-4DEF-BAF7-8DD5D042F9E0}"/>
          </ac:spMkLst>
        </pc:spChg>
      </pc:sldChg>
      <pc:sldChg chg="delSp mod">
        <pc:chgData name="Batuhan Yildiz" userId="90f344fc-4655-4923-aeaf-697bba59c1a7" providerId="ADAL" clId="{C4D54E99-673C-43B2-A218-475B4FDEDCC6}" dt="2020-05-22T07:46:41.699" v="211" actId="478"/>
        <pc:sldMkLst>
          <pc:docMk/>
          <pc:sldMk cId="979826723" sldId="667"/>
        </pc:sldMkLst>
        <pc:spChg chg="del">
          <ac:chgData name="Batuhan Yildiz" userId="90f344fc-4655-4923-aeaf-697bba59c1a7" providerId="ADAL" clId="{C4D54E99-673C-43B2-A218-475B4FDEDCC6}" dt="2020-05-22T07:46:41.699" v="211" actId="478"/>
          <ac:spMkLst>
            <pc:docMk/>
            <pc:sldMk cId="979826723" sldId="667"/>
            <ac:spMk id="3" creationId="{F35E8CBB-5A7D-4DEF-BAF7-8DD5D042F9E0}"/>
          </ac:spMkLst>
        </pc:spChg>
      </pc:sldChg>
      <pc:sldChg chg="delSp modSp mod">
        <pc:chgData name="Batuhan Yildiz" userId="90f344fc-4655-4923-aeaf-697bba59c1a7" providerId="ADAL" clId="{C4D54E99-673C-43B2-A218-475B4FDEDCC6}" dt="2020-05-22T08:14:48.688" v="455" actId="14100"/>
        <pc:sldMkLst>
          <pc:docMk/>
          <pc:sldMk cId="1985242486" sldId="669"/>
        </pc:sldMkLst>
        <pc:spChg chg="del">
          <ac:chgData name="Batuhan Yildiz" userId="90f344fc-4655-4923-aeaf-697bba59c1a7" providerId="ADAL" clId="{C4D54E99-673C-43B2-A218-475B4FDEDCC6}" dt="2020-05-22T08:13:25.430" v="449" actId="478"/>
          <ac:spMkLst>
            <pc:docMk/>
            <pc:sldMk cId="1985242486" sldId="669"/>
            <ac:spMk id="3" creationId="{F35E8CBB-5A7D-4DEF-BAF7-8DD5D042F9E0}"/>
          </ac:spMkLst>
        </pc:spChg>
        <pc:spChg chg="mod">
          <ac:chgData name="Batuhan Yildiz" userId="90f344fc-4655-4923-aeaf-697bba59c1a7" providerId="ADAL" clId="{C4D54E99-673C-43B2-A218-475B4FDEDCC6}" dt="2020-05-22T08:14:48.688" v="455" actId="14100"/>
          <ac:spMkLst>
            <pc:docMk/>
            <pc:sldMk cId="1985242486" sldId="669"/>
            <ac:spMk id="9" creationId="{610DD977-6571-4E75-91F5-C5F710C78F56}"/>
          </ac:spMkLst>
        </pc:spChg>
        <pc:graphicFrameChg chg="mod">
          <ac:chgData name="Batuhan Yildiz" userId="90f344fc-4655-4923-aeaf-697bba59c1a7" providerId="ADAL" clId="{C4D54E99-673C-43B2-A218-475B4FDEDCC6}" dt="2020-05-22T08:14:40.113" v="452" actId="14100"/>
          <ac:graphicFrameMkLst>
            <pc:docMk/>
            <pc:sldMk cId="1985242486" sldId="669"/>
            <ac:graphicFrameMk id="5" creationId="{17C8480E-4A90-4F56-93A1-BC3A45EE117A}"/>
          </ac:graphicFrameMkLst>
        </pc:graphicFrameChg>
      </pc:sldChg>
      <pc:sldChg chg="delSp mod">
        <pc:chgData name="Batuhan Yildiz" userId="90f344fc-4655-4923-aeaf-697bba59c1a7" providerId="ADAL" clId="{C4D54E99-673C-43B2-A218-475B4FDEDCC6}" dt="2020-05-22T08:17:07.846" v="466" actId="478"/>
        <pc:sldMkLst>
          <pc:docMk/>
          <pc:sldMk cId="555630791" sldId="670"/>
        </pc:sldMkLst>
        <pc:spChg chg="del">
          <ac:chgData name="Batuhan Yildiz" userId="90f344fc-4655-4923-aeaf-697bba59c1a7" providerId="ADAL" clId="{C4D54E99-673C-43B2-A218-475B4FDEDCC6}" dt="2020-05-22T08:17:07.846" v="466" actId="478"/>
          <ac:spMkLst>
            <pc:docMk/>
            <pc:sldMk cId="555630791" sldId="670"/>
            <ac:spMk id="3" creationId="{9CAAEC61-74EA-4B3E-B3DB-D6B83A64237B}"/>
          </ac:spMkLst>
        </pc:spChg>
      </pc:sldChg>
      <pc:sldChg chg="modSp mod">
        <pc:chgData name="Batuhan Yildiz" userId="90f344fc-4655-4923-aeaf-697bba59c1a7" providerId="ADAL" clId="{C4D54E99-673C-43B2-A218-475B4FDEDCC6}" dt="2020-05-22T08:21:11.226" v="472" actId="1076"/>
        <pc:sldMkLst>
          <pc:docMk/>
          <pc:sldMk cId="2009854721" sldId="671"/>
        </pc:sldMkLst>
        <pc:spChg chg="mod">
          <ac:chgData name="Batuhan Yildiz" userId="90f344fc-4655-4923-aeaf-697bba59c1a7" providerId="ADAL" clId="{C4D54E99-673C-43B2-A218-475B4FDEDCC6}" dt="2020-05-22T08:21:11.226" v="472" actId="1076"/>
          <ac:spMkLst>
            <pc:docMk/>
            <pc:sldMk cId="2009854721" sldId="671"/>
            <ac:spMk id="21" creationId="{FCDB61BD-DE4A-40A9-A07E-364453B4D814}"/>
          </ac:spMkLst>
        </pc:spChg>
        <pc:spChg chg="mod">
          <ac:chgData name="Batuhan Yildiz" userId="90f344fc-4655-4923-aeaf-697bba59c1a7" providerId="ADAL" clId="{C4D54E99-673C-43B2-A218-475B4FDEDCC6}" dt="2020-05-22T08:21:03.260" v="471" actId="14100"/>
          <ac:spMkLst>
            <pc:docMk/>
            <pc:sldMk cId="2009854721" sldId="671"/>
            <ac:spMk id="25" creationId="{3F5123BA-3D74-4516-ABCD-3239EC76359C}"/>
          </ac:spMkLst>
        </pc:spChg>
        <pc:graphicFrameChg chg="mod">
          <ac:chgData name="Batuhan Yildiz" userId="90f344fc-4655-4923-aeaf-697bba59c1a7" providerId="ADAL" clId="{C4D54E99-673C-43B2-A218-475B4FDEDCC6}" dt="2020-05-22T08:20:00.539" v="467" actId="1076"/>
          <ac:graphicFrameMkLst>
            <pc:docMk/>
            <pc:sldMk cId="2009854721" sldId="671"/>
            <ac:graphicFrameMk id="6" creationId="{4EBEDD6E-AB5F-4B19-B6B2-2E65C58D0B95}"/>
          </ac:graphicFrameMkLst>
        </pc:graphicFrameChg>
        <pc:cxnChg chg="mod">
          <ac:chgData name="Batuhan Yildiz" userId="90f344fc-4655-4923-aeaf-697bba59c1a7" providerId="ADAL" clId="{C4D54E99-673C-43B2-A218-475B4FDEDCC6}" dt="2020-05-22T08:20:35.181" v="468" actId="14100"/>
          <ac:cxnSpMkLst>
            <pc:docMk/>
            <pc:sldMk cId="2009854721" sldId="671"/>
            <ac:cxnSpMk id="8" creationId="{7E6FBBE6-9C88-4FE8-9086-299105FAF527}"/>
          </ac:cxnSpMkLst>
        </pc:cxnChg>
        <pc:cxnChg chg="mod">
          <ac:chgData name="Batuhan Yildiz" userId="90f344fc-4655-4923-aeaf-697bba59c1a7" providerId="ADAL" clId="{C4D54E99-673C-43B2-A218-475B4FDEDCC6}" dt="2020-05-22T08:20:42.139" v="469" actId="14100"/>
          <ac:cxnSpMkLst>
            <pc:docMk/>
            <pc:sldMk cId="2009854721" sldId="671"/>
            <ac:cxnSpMk id="9" creationId="{F8CEEFF4-3531-4A5F-A429-D4DCBFA4DC58}"/>
          </ac:cxnSpMkLst>
        </pc:cxnChg>
      </pc:sldChg>
      <pc:sldChg chg="modSp mod">
        <pc:chgData name="Batuhan Yildiz" userId="90f344fc-4655-4923-aeaf-697bba59c1a7" providerId="ADAL" clId="{C4D54E99-673C-43B2-A218-475B4FDEDCC6}" dt="2020-05-22T08:22:14.466" v="474" actId="1076"/>
        <pc:sldMkLst>
          <pc:docMk/>
          <pc:sldMk cId="1245107683" sldId="672"/>
        </pc:sldMkLst>
        <pc:spChg chg="mod">
          <ac:chgData name="Batuhan Yildiz" userId="90f344fc-4655-4923-aeaf-697bba59c1a7" providerId="ADAL" clId="{C4D54E99-673C-43B2-A218-475B4FDEDCC6}" dt="2020-05-22T08:22:14.466" v="474" actId="1076"/>
          <ac:spMkLst>
            <pc:docMk/>
            <pc:sldMk cId="1245107683" sldId="672"/>
            <ac:spMk id="43" creationId="{96ABCCB7-7D1B-4F55-A2BC-7B99C15BB3DF}"/>
          </ac:spMkLst>
        </pc:spChg>
        <pc:cxnChg chg="mod">
          <ac:chgData name="Batuhan Yildiz" userId="90f344fc-4655-4923-aeaf-697bba59c1a7" providerId="ADAL" clId="{C4D54E99-673C-43B2-A218-475B4FDEDCC6}" dt="2020-05-22T08:22:14.466" v="474" actId="1076"/>
          <ac:cxnSpMkLst>
            <pc:docMk/>
            <pc:sldMk cId="1245107683" sldId="672"/>
            <ac:cxnSpMk id="44" creationId="{3C3B778F-AD82-4722-820B-A73BDEE4C006}"/>
          </ac:cxnSpMkLst>
        </pc:cxnChg>
      </pc:sldChg>
      <pc:sldChg chg="modSp">
        <pc:chgData name="Batuhan Yildiz" userId="90f344fc-4655-4923-aeaf-697bba59c1a7" providerId="ADAL" clId="{C4D54E99-673C-43B2-A218-475B4FDEDCC6}" dt="2020-05-22T08:24:15.511" v="486" actId="14100"/>
        <pc:sldMkLst>
          <pc:docMk/>
          <pc:sldMk cId="2745452252" sldId="673"/>
        </pc:sldMkLst>
        <pc:graphicFrameChg chg="mod">
          <ac:chgData name="Batuhan Yildiz" userId="90f344fc-4655-4923-aeaf-697bba59c1a7" providerId="ADAL" clId="{C4D54E99-673C-43B2-A218-475B4FDEDCC6}" dt="2020-05-22T08:24:15.511" v="486" actId="14100"/>
          <ac:graphicFrameMkLst>
            <pc:docMk/>
            <pc:sldMk cId="2745452252" sldId="673"/>
            <ac:graphicFrameMk id="5" creationId="{7D108DBB-E906-4DC1-A452-84D184316AB6}"/>
          </ac:graphicFrameMkLst>
        </pc:graphicFrameChg>
      </pc:sldChg>
      <pc:sldChg chg="delSp modSp mod">
        <pc:chgData name="Batuhan Yildiz" userId="90f344fc-4655-4923-aeaf-697bba59c1a7" providerId="ADAL" clId="{C4D54E99-673C-43B2-A218-475B4FDEDCC6}" dt="2020-05-22T08:23:54.402" v="483" actId="14100"/>
        <pc:sldMkLst>
          <pc:docMk/>
          <pc:sldMk cId="3635708424" sldId="674"/>
        </pc:sldMkLst>
        <pc:spChg chg="del">
          <ac:chgData name="Batuhan Yildiz" userId="90f344fc-4655-4923-aeaf-697bba59c1a7" providerId="ADAL" clId="{C4D54E99-673C-43B2-A218-475B4FDEDCC6}" dt="2020-05-22T08:22:24.137" v="475" actId="478"/>
          <ac:spMkLst>
            <pc:docMk/>
            <pc:sldMk cId="3635708424" sldId="674"/>
            <ac:spMk id="3" creationId="{3152179B-513C-42BB-A37F-6972724C1B17}"/>
          </ac:spMkLst>
        </pc:spChg>
        <pc:spChg chg="mod">
          <ac:chgData name="Batuhan Yildiz" userId="90f344fc-4655-4923-aeaf-697bba59c1a7" providerId="ADAL" clId="{C4D54E99-673C-43B2-A218-475B4FDEDCC6}" dt="2020-05-22T08:23:54.402" v="483" actId="14100"/>
          <ac:spMkLst>
            <pc:docMk/>
            <pc:sldMk cId="3635708424" sldId="674"/>
            <ac:spMk id="4" creationId="{500520A3-0B09-4C4F-A823-88076E664703}"/>
          </ac:spMkLst>
        </pc:spChg>
        <pc:spChg chg="mod">
          <ac:chgData name="Batuhan Yildiz" userId="90f344fc-4655-4923-aeaf-697bba59c1a7" providerId="ADAL" clId="{C4D54E99-673C-43B2-A218-475B4FDEDCC6}" dt="2020-05-22T08:23:32.565" v="480" actId="1076"/>
          <ac:spMkLst>
            <pc:docMk/>
            <pc:sldMk cId="3635708424" sldId="674"/>
            <ac:spMk id="6" creationId="{4B36B48A-ACC0-4EEA-9E7F-D05DF07558CA}"/>
          </ac:spMkLst>
        </pc:spChg>
        <pc:spChg chg="mod">
          <ac:chgData name="Batuhan Yildiz" userId="90f344fc-4655-4923-aeaf-697bba59c1a7" providerId="ADAL" clId="{C4D54E99-673C-43B2-A218-475B4FDEDCC6}" dt="2020-05-22T08:23:32.565" v="480" actId="1076"/>
          <ac:spMkLst>
            <pc:docMk/>
            <pc:sldMk cId="3635708424" sldId="674"/>
            <ac:spMk id="7" creationId="{B662745B-BC1C-4EFE-B715-5E2F80524EF7}"/>
          </ac:spMkLst>
        </pc:spChg>
        <pc:spChg chg="mod">
          <ac:chgData name="Batuhan Yildiz" userId="90f344fc-4655-4923-aeaf-697bba59c1a7" providerId="ADAL" clId="{C4D54E99-673C-43B2-A218-475B4FDEDCC6}" dt="2020-05-22T08:23:32.565" v="480" actId="1076"/>
          <ac:spMkLst>
            <pc:docMk/>
            <pc:sldMk cId="3635708424" sldId="674"/>
            <ac:spMk id="9" creationId="{A1C77396-280C-4357-8325-86F87ACC773E}"/>
          </ac:spMkLst>
        </pc:spChg>
        <pc:spChg chg="mod">
          <ac:chgData name="Batuhan Yildiz" userId="90f344fc-4655-4923-aeaf-697bba59c1a7" providerId="ADAL" clId="{C4D54E99-673C-43B2-A218-475B4FDEDCC6}" dt="2020-05-22T08:23:32.565" v="480" actId="1076"/>
          <ac:spMkLst>
            <pc:docMk/>
            <pc:sldMk cId="3635708424" sldId="674"/>
            <ac:spMk id="10" creationId="{55D0B62F-AC6F-4335-846E-DD3517E102A2}"/>
          </ac:spMkLst>
        </pc:spChg>
        <pc:spChg chg="mod">
          <ac:chgData name="Batuhan Yildiz" userId="90f344fc-4655-4923-aeaf-697bba59c1a7" providerId="ADAL" clId="{C4D54E99-673C-43B2-A218-475B4FDEDCC6}" dt="2020-05-22T08:23:32.565" v="480" actId="1076"/>
          <ac:spMkLst>
            <pc:docMk/>
            <pc:sldMk cId="3635708424" sldId="674"/>
            <ac:spMk id="12" creationId="{00AB7575-849E-4E36-8119-7DF76BC976D6}"/>
          </ac:spMkLst>
        </pc:spChg>
        <pc:spChg chg="mod">
          <ac:chgData name="Batuhan Yildiz" userId="90f344fc-4655-4923-aeaf-697bba59c1a7" providerId="ADAL" clId="{C4D54E99-673C-43B2-A218-475B4FDEDCC6}" dt="2020-05-22T08:23:32.565" v="480" actId="1076"/>
          <ac:spMkLst>
            <pc:docMk/>
            <pc:sldMk cId="3635708424" sldId="674"/>
            <ac:spMk id="13" creationId="{37805124-0DA9-48C0-B45C-4DAC8BA6615C}"/>
          </ac:spMkLst>
        </pc:spChg>
        <pc:spChg chg="mod">
          <ac:chgData name="Batuhan Yildiz" userId="90f344fc-4655-4923-aeaf-697bba59c1a7" providerId="ADAL" clId="{C4D54E99-673C-43B2-A218-475B4FDEDCC6}" dt="2020-05-22T08:23:32.565" v="480" actId="1076"/>
          <ac:spMkLst>
            <pc:docMk/>
            <pc:sldMk cId="3635708424" sldId="674"/>
            <ac:spMk id="15" creationId="{EC2E2B6B-6CC1-4CCA-B1E7-78491013DB84}"/>
          </ac:spMkLst>
        </pc:spChg>
        <pc:spChg chg="mod">
          <ac:chgData name="Batuhan Yildiz" userId="90f344fc-4655-4923-aeaf-697bba59c1a7" providerId="ADAL" clId="{C4D54E99-673C-43B2-A218-475B4FDEDCC6}" dt="2020-05-22T08:23:32.565" v="480" actId="1076"/>
          <ac:spMkLst>
            <pc:docMk/>
            <pc:sldMk cId="3635708424" sldId="674"/>
            <ac:spMk id="16" creationId="{2ABDD251-8F52-4882-8E29-C0FD7CB789AB}"/>
          </ac:spMkLst>
        </pc:spChg>
        <pc:spChg chg="mod">
          <ac:chgData name="Batuhan Yildiz" userId="90f344fc-4655-4923-aeaf-697bba59c1a7" providerId="ADAL" clId="{C4D54E99-673C-43B2-A218-475B4FDEDCC6}" dt="2020-05-22T08:23:32.565" v="480" actId="1076"/>
          <ac:spMkLst>
            <pc:docMk/>
            <pc:sldMk cId="3635708424" sldId="674"/>
            <ac:spMk id="18" creationId="{277AC416-1BF5-48D2-A3B9-FA0A79AF9975}"/>
          </ac:spMkLst>
        </pc:spChg>
        <pc:spChg chg="mod">
          <ac:chgData name="Batuhan Yildiz" userId="90f344fc-4655-4923-aeaf-697bba59c1a7" providerId="ADAL" clId="{C4D54E99-673C-43B2-A218-475B4FDEDCC6}" dt="2020-05-22T08:23:32.565" v="480" actId="1076"/>
          <ac:spMkLst>
            <pc:docMk/>
            <pc:sldMk cId="3635708424" sldId="674"/>
            <ac:spMk id="19" creationId="{B7767998-F986-49AD-BD06-F20E5C1F6A7C}"/>
          </ac:spMkLst>
        </pc:spChg>
        <pc:spChg chg="mod">
          <ac:chgData name="Batuhan Yildiz" userId="90f344fc-4655-4923-aeaf-697bba59c1a7" providerId="ADAL" clId="{C4D54E99-673C-43B2-A218-475B4FDEDCC6}" dt="2020-05-22T08:23:32.565" v="480" actId="1076"/>
          <ac:spMkLst>
            <pc:docMk/>
            <pc:sldMk cId="3635708424" sldId="674"/>
            <ac:spMk id="21" creationId="{477E71A7-E8EF-4514-AD06-E9186D724549}"/>
          </ac:spMkLst>
        </pc:spChg>
        <pc:spChg chg="mod">
          <ac:chgData name="Batuhan Yildiz" userId="90f344fc-4655-4923-aeaf-697bba59c1a7" providerId="ADAL" clId="{C4D54E99-673C-43B2-A218-475B4FDEDCC6}" dt="2020-05-22T08:23:32.565" v="480" actId="1076"/>
          <ac:spMkLst>
            <pc:docMk/>
            <pc:sldMk cId="3635708424" sldId="674"/>
            <ac:spMk id="22" creationId="{E9FBFE73-A377-4A11-9B66-47230F9AA41C}"/>
          </ac:spMkLst>
        </pc:spChg>
        <pc:spChg chg="mod">
          <ac:chgData name="Batuhan Yildiz" userId="90f344fc-4655-4923-aeaf-697bba59c1a7" providerId="ADAL" clId="{C4D54E99-673C-43B2-A218-475B4FDEDCC6}" dt="2020-05-22T08:23:32.565" v="480" actId="1076"/>
          <ac:spMkLst>
            <pc:docMk/>
            <pc:sldMk cId="3635708424" sldId="674"/>
            <ac:spMk id="24" creationId="{1B0EB10B-5F30-4146-9379-34105A82BDC3}"/>
          </ac:spMkLst>
        </pc:spChg>
        <pc:spChg chg="mod">
          <ac:chgData name="Batuhan Yildiz" userId="90f344fc-4655-4923-aeaf-697bba59c1a7" providerId="ADAL" clId="{C4D54E99-673C-43B2-A218-475B4FDEDCC6}" dt="2020-05-22T08:23:32.565" v="480" actId="1076"/>
          <ac:spMkLst>
            <pc:docMk/>
            <pc:sldMk cId="3635708424" sldId="674"/>
            <ac:spMk id="25" creationId="{85E79CC3-C83C-4A0B-9611-1854E00DFCCB}"/>
          </ac:spMkLst>
        </pc:spChg>
        <pc:spChg chg="mod">
          <ac:chgData name="Batuhan Yildiz" userId="90f344fc-4655-4923-aeaf-697bba59c1a7" providerId="ADAL" clId="{C4D54E99-673C-43B2-A218-475B4FDEDCC6}" dt="2020-05-22T08:23:32.565" v="480" actId="1076"/>
          <ac:spMkLst>
            <pc:docMk/>
            <pc:sldMk cId="3635708424" sldId="674"/>
            <ac:spMk id="27" creationId="{B3A7A748-5904-4552-BB13-3C2FD8D32821}"/>
          </ac:spMkLst>
        </pc:spChg>
        <pc:spChg chg="mod">
          <ac:chgData name="Batuhan Yildiz" userId="90f344fc-4655-4923-aeaf-697bba59c1a7" providerId="ADAL" clId="{C4D54E99-673C-43B2-A218-475B4FDEDCC6}" dt="2020-05-22T08:23:32.565" v="480" actId="1076"/>
          <ac:spMkLst>
            <pc:docMk/>
            <pc:sldMk cId="3635708424" sldId="674"/>
            <ac:spMk id="28" creationId="{BDD9EFEC-1D7F-4D71-ADE4-491BC0E743D9}"/>
          </ac:spMkLst>
        </pc:spChg>
        <pc:spChg chg="mod">
          <ac:chgData name="Batuhan Yildiz" userId="90f344fc-4655-4923-aeaf-697bba59c1a7" providerId="ADAL" clId="{C4D54E99-673C-43B2-A218-475B4FDEDCC6}" dt="2020-05-22T08:23:32.565" v="480" actId="1076"/>
          <ac:spMkLst>
            <pc:docMk/>
            <pc:sldMk cId="3635708424" sldId="674"/>
            <ac:spMk id="30" creationId="{A68787F7-5DD2-4B0E-825E-95949BBDE336}"/>
          </ac:spMkLst>
        </pc:spChg>
        <pc:spChg chg="mod">
          <ac:chgData name="Batuhan Yildiz" userId="90f344fc-4655-4923-aeaf-697bba59c1a7" providerId="ADAL" clId="{C4D54E99-673C-43B2-A218-475B4FDEDCC6}" dt="2020-05-22T08:23:32.565" v="480" actId="1076"/>
          <ac:spMkLst>
            <pc:docMk/>
            <pc:sldMk cId="3635708424" sldId="674"/>
            <ac:spMk id="31" creationId="{A9C84E6B-A311-4EE3-879E-55E2B98B909B}"/>
          </ac:spMkLst>
        </pc:spChg>
        <pc:spChg chg="mod">
          <ac:chgData name="Batuhan Yildiz" userId="90f344fc-4655-4923-aeaf-697bba59c1a7" providerId="ADAL" clId="{C4D54E99-673C-43B2-A218-475B4FDEDCC6}" dt="2020-05-22T08:23:32.565" v="480" actId="1076"/>
          <ac:spMkLst>
            <pc:docMk/>
            <pc:sldMk cId="3635708424" sldId="674"/>
            <ac:spMk id="32" creationId="{27014AA0-11E3-4865-AD89-F4CD523BD4C8}"/>
          </ac:spMkLst>
        </pc:spChg>
        <pc:spChg chg="mod">
          <ac:chgData name="Batuhan Yildiz" userId="90f344fc-4655-4923-aeaf-697bba59c1a7" providerId="ADAL" clId="{C4D54E99-673C-43B2-A218-475B4FDEDCC6}" dt="2020-05-22T08:23:32.565" v="480" actId="1076"/>
          <ac:spMkLst>
            <pc:docMk/>
            <pc:sldMk cId="3635708424" sldId="674"/>
            <ac:spMk id="33" creationId="{4722E2F2-8382-4CF9-8AD7-2ED34167B93F}"/>
          </ac:spMkLst>
        </pc:spChg>
        <pc:spChg chg="mod">
          <ac:chgData name="Batuhan Yildiz" userId="90f344fc-4655-4923-aeaf-697bba59c1a7" providerId="ADAL" clId="{C4D54E99-673C-43B2-A218-475B4FDEDCC6}" dt="2020-05-22T08:23:32.565" v="480" actId="1076"/>
          <ac:spMkLst>
            <pc:docMk/>
            <pc:sldMk cId="3635708424" sldId="674"/>
            <ac:spMk id="34" creationId="{7BF4CFB8-FA37-4336-A78C-375C011AC469}"/>
          </ac:spMkLst>
        </pc:spChg>
        <pc:spChg chg="mod">
          <ac:chgData name="Batuhan Yildiz" userId="90f344fc-4655-4923-aeaf-697bba59c1a7" providerId="ADAL" clId="{C4D54E99-673C-43B2-A218-475B4FDEDCC6}" dt="2020-05-22T08:23:32.565" v="480" actId="1076"/>
          <ac:spMkLst>
            <pc:docMk/>
            <pc:sldMk cId="3635708424" sldId="674"/>
            <ac:spMk id="35" creationId="{D052117C-913D-4FBB-A983-9CC7723F93AF}"/>
          </ac:spMkLst>
        </pc:spChg>
        <pc:spChg chg="mod">
          <ac:chgData name="Batuhan Yildiz" userId="90f344fc-4655-4923-aeaf-697bba59c1a7" providerId="ADAL" clId="{C4D54E99-673C-43B2-A218-475B4FDEDCC6}" dt="2020-05-22T08:23:32.565" v="480" actId="1076"/>
          <ac:spMkLst>
            <pc:docMk/>
            <pc:sldMk cId="3635708424" sldId="674"/>
            <ac:spMk id="36" creationId="{C4A53A48-B1BF-4A64-9A2E-C78B83C821D4}"/>
          </ac:spMkLst>
        </pc:spChg>
        <pc:spChg chg="mod">
          <ac:chgData name="Batuhan Yildiz" userId="90f344fc-4655-4923-aeaf-697bba59c1a7" providerId="ADAL" clId="{C4D54E99-673C-43B2-A218-475B4FDEDCC6}" dt="2020-05-22T08:23:32.565" v="480" actId="1076"/>
          <ac:spMkLst>
            <pc:docMk/>
            <pc:sldMk cId="3635708424" sldId="674"/>
            <ac:spMk id="37" creationId="{D64E918F-1D40-4176-9BBE-08F31A9DCE0C}"/>
          </ac:spMkLst>
        </pc:spChg>
        <pc:spChg chg="mod">
          <ac:chgData name="Batuhan Yildiz" userId="90f344fc-4655-4923-aeaf-697bba59c1a7" providerId="ADAL" clId="{C4D54E99-673C-43B2-A218-475B4FDEDCC6}" dt="2020-05-22T08:23:32.565" v="480" actId="1076"/>
          <ac:spMkLst>
            <pc:docMk/>
            <pc:sldMk cId="3635708424" sldId="674"/>
            <ac:spMk id="38" creationId="{B4B581D1-18E3-4A2B-9452-FB4D1AEA401A}"/>
          </ac:spMkLst>
        </pc:spChg>
        <pc:spChg chg="mod">
          <ac:chgData name="Batuhan Yildiz" userId="90f344fc-4655-4923-aeaf-697bba59c1a7" providerId="ADAL" clId="{C4D54E99-673C-43B2-A218-475B4FDEDCC6}" dt="2020-05-22T08:23:32.565" v="480" actId="1076"/>
          <ac:spMkLst>
            <pc:docMk/>
            <pc:sldMk cId="3635708424" sldId="674"/>
            <ac:spMk id="39" creationId="{769416F4-8456-4150-B752-672B6F04CB8F}"/>
          </ac:spMkLst>
        </pc:spChg>
        <pc:spChg chg="mod">
          <ac:chgData name="Batuhan Yildiz" userId="90f344fc-4655-4923-aeaf-697bba59c1a7" providerId="ADAL" clId="{C4D54E99-673C-43B2-A218-475B4FDEDCC6}" dt="2020-05-22T08:23:32.565" v="480" actId="1076"/>
          <ac:spMkLst>
            <pc:docMk/>
            <pc:sldMk cId="3635708424" sldId="674"/>
            <ac:spMk id="40" creationId="{E2AF50D2-B256-4117-B257-0737810C9D03}"/>
          </ac:spMkLst>
        </pc:spChg>
        <pc:spChg chg="mod">
          <ac:chgData name="Batuhan Yildiz" userId="90f344fc-4655-4923-aeaf-697bba59c1a7" providerId="ADAL" clId="{C4D54E99-673C-43B2-A218-475B4FDEDCC6}" dt="2020-05-22T08:23:32.565" v="480" actId="1076"/>
          <ac:spMkLst>
            <pc:docMk/>
            <pc:sldMk cId="3635708424" sldId="674"/>
            <ac:spMk id="41" creationId="{FD46308B-B260-4D4C-9880-C825583C227A}"/>
          </ac:spMkLst>
        </pc:spChg>
        <pc:spChg chg="mod">
          <ac:chgData name="Batuhan Yildiz" userId="90f344fc-4655-4923-aeaf-697bba59c1a7" providerId="ADAL" clId="{C4D54E99-673C-43B2-A218-475B4FDEDCC6}" dt="2020-05-22T08:23:32.565" v="480" actId="1076"/>
          <ac:spMkLst>
            <pc:docMk/>
            <pc:sldMk cId="3635708424" sldId="674"/>
            <ac:spMk id="42" creationId="{F1323C98-8526-4844-91E9-B428197407B5}"/>
          </ac:spMkLst>
        </pc:spChg>
        <pc:spChg chg="mod">
          <ac:chgData name="Batuhan Yildiz" userId="90f344fc-4655-4923-aeaf-697bba59c1a7" providerId="ADAL" clId="{C4D54E99-673C-43B2-A218-475B4FDEDCC6}" dt="2020-05-22T08:23:32.565" v="480" actId="1076"/>
          <ac:spMkLst>
            <pc:docMk/>
            <pc:sldMk cId="3635708424" sldId="674"/>
            <ac:spMk id="43" creationId="{107E0F73-9FD6-4440-AEA6-86659AD1E84A}"/>
          </ac:spMkLst>
        </pc:spChg>
        <pc:spChg chg="mod">
          <ac:chgData name="Batuhan Yildiz" userId="90f344fc-4655-4923-aeaf-697bba59c1a7" providerId="ADAL" clId="{C4D54E99-673C-43B2-A218-475B4FDEDCC6}" dt="2020-05-22T08:23:32.565" v="480" actId="1076"/>
          <ac:spMkLst>
            <pc:docMk/>
            <pc:sldMk cId="3635708424" sldId="674"/>
            <ac:spMk id="44" creationId="{6DAB4B14-BB6D-427D-98F7-99064DA98DC3}"/>
          </ac:spMkLst>
        </pc:spChg>
        <pc:spChg chg="mod">
          <ac:chgData name="Batuhan Yildiz" userId="90f344fc-4655-4923-aeaf-697bba59c1a7" providerId="ADAL" clId="{C4D54E99-673C-43B2-A218-475B4FDEDCC6}" dt="2020-05-22T08:23:32.565" v="480" actId="1076"/>
          <ac:spMkLst>
            <pc:docMk/>
            <pc:sldMk cId="3635708424" sldId="674"/>
            <ac:spMk id="45" creationId="{225EB56D-4182-4E32-BF5A-4E4C01741FFB}"/>
          </ac:spMkLst>
        </pc:spChg>
        <pc:spChg chg="mod">
          <ac:chgData name="Batuhan Yildiz" userId="90f344fc-4655-4923-aeaf-697bba59c1a7" providerId="ADAL" clId="{C4D54E99-673C-43B2-A218-475B4FDEDCC6}" dt="2020-05-22T08:23:32.565" v="480" actId="1076"/>
          <ac:spMkLst>
            <pc:docMk/>
            <pc:sldMk cId="3635708424" sldId="674"/>
            <ac:spMk id="46" creationId="{E3FCA92E-9884-45B6-916F-C5AC36C501FD}"/>
          </ac:spMkLst>
        </pc:spChg>
        <pc:spChg chg="mod">
          <ac:chgData name="Batuhan Yildiz" userId="90f344fc-4655-4923-aeaf-697bba59c1a7" providerId="ADAL" clId="{C4D54E99-673C-43B2-A218-475B4FDEDCC6}" dt="2020-05-22T08:23:32.565" v="480" actId="1076"/>
          <ac:spMkLst>
            <pc:docMk/>
            <pc:sldMk cId="3635708424" sldId="674"/>
            <ac:spMk id="47" creationId="{F2EDBD66-B36C-429A-AE1F-E02A71EBA438}"/>
          </ac:spMkLst>
        </pc:spChg>
        <pc:spChg chg="mod">
          <ac:chgData name="Batuhan Yildiz" userId="90f344fc-4655-4923-aeaf-697bba59c1a7" providerId="ADAL" clId="{C4D54E99-673C-43B2-A218-475B4FDEDCC6}" dt="2020-05-22T08:22:48.999" v="476" actId="1076"/>
          <ac:spMkLst>
            <pc:docMk/>
            <pc:sldMk cId="3635708424" sldId="674"/>
            <ac:spMk id="49" creationId="{5ECB3842-04EF-4EC2-849E-DDF4BB486ADA}"/>
          </ac:spMkLst>
        </pc:spChg>
        <pc:spChg chg="mod">
          <ac:chgData name="Batuhan Yildiz" userId="90f344fc-4655-4923-aeaf-697bba59c1a7" providerId="ADAL" clId="{C4D54E99-673C-43B2-A218-475B4FDEDCC6}" dt="2020-05-22T08:22:48.999" v="476" actId="1076"/>
          <ac:spMkLst>
            <pc:docMk/>
            <pc:sldMk cId="3635708424" sldId="674"/>
            <ac:spMk id="50" creationId="{A2024A2B-73BF-4520-9136-7FF427B7DFD2}"/>
          </ac:spMkLst>
        </pc:spChg>
        <pc:spChg chg="mod">
          <ac:chgData name="Batuhan Yildiz" userId="90f344fc-4655-4923-aeaf-697bba59c1a7" providerId="ADAL" clId="{C4D54E99-673C-43B2-A218-475B4FDEDCC6}" dt="2020-05-22T08:22:48.999" v="476" actId="1076"/>
          <ac:spMkLst>
            <pc:docMk/>
            <pc:sldMk cId="3635708424" sldId="674"/>
            <ac:spMk id="51" creationId="{FFC4B298-B08F-46E3-8CFA-769603BBE463}"/>
          </ac:spMkLst>
        </pc:spChg>
        <pc:spChg chg="mod">
          <ac:chgData name="Batuhan Yildiz" userId="90f344fc-4655-4923-aeaf-697bba59c1a7" providerId="ADAL" clId="{C4D54E99-673C-43B2-A218-475B4FDEDCC6}" dt="2020-05-22T08:22:48.999" v="476" actId="1076"/>
          <ac:spMkLst>
            <pc:docMk/>
            <pc:sldMk cId="3635708424" sldId="674"/>
            <ac:spMk id="52" creationId="{02E51240-B60C-488C-852B-D27331345330}"/>
          </ac:spMkLst>
        </pc:spChg>
        <pc:spChg chg="mod">
          <ac:chgData name="Batuhan Yildiz" userId="90f344fc-4655-4923-aeaf-697bba59c1a7" providerId="ADAL" clId="{C4D54E99-673C-43B2-A218-475B4FDEDCC6}" dt="2020-05-22T08:22:48.999" v="476" actId="1076"/>
          <ac:spMkLst>
            <pc:docMk/>
            <pc:sldMk cId="3635708424" sldId="674"/>
            <ac:spMk id="53" creationId="{CC262049-B424-480F-A216-AFE2FFBF6AE2}"/>
          </ac:spMkLst>
        </pc:spChg>
        <pc:spChg chg="mod">
          <ac:chgData name="Batuhan Yildiz" userId="90f344fc-4655-4923-aeaf-697bba59c1a7" providerId="ADAL" clId="{C4D54E99-673C-43B2-A218-475B4FDEDCC6}" dt="2020-05-22T08:22:48.999" v="476" actId="1076"/>
          <ac:spMkLst>
            <pc:docMk/>
            <pc:sldMk cId="3635708424" sldId="674"/>
            <ac:spMk id="54" creationId="{4BD758F4-BB4A-49CF-AA88-0F62AD0706E0}"/>
          </ac:spMkLst>
        </pc:spChg>
        <pc:spChg chg="mod">
          <ac:chgData name="Batuhan Yildiz" userId="90f344fc-4655-4923-aeaf-697bba59c1a7" providerId="ADAL" clId="{C4D54E99-673C-43B2-A218-475B4FDEDCC6}" dt="2020-05-22T08:22:48.999" v="476" actId="1076"/>
          <ac:spMkLst>
            <pc:docMk/>
            <pc:sldMk cId="3635708424" sldId="674"/>
            <ac:spMk id="55" creationId="{EF7D9FF1-3D1F-4602-8D43-7DEB039B8161}"/>
          </ac:spMkLst>
        </pc:spChg>
        <pc:spChg chg="mod">
          <ac:chgData name="Batuhan Yildiz" userId="90f344fc-4655-4923-aeaf-697bba59c1a7" providerId="ADAL" clId="{C4D54E99-673C-43B2-A218-475B4FDEDCC6}" dt="2020-05-22T08:22:48.999" v="476" actId="1076"/>
          <ac:spMkLst>
            <pc:docMk/>
            <pc:sldMk cId="3635708424" sldId="674"/>
            <ac:spMk id="56" creationId="{1C77F3E9-8B2D-4C5F-84BC-097B92D802B2}"/>
          </ac:spMkLst>
        </pc:spChg>
        <pc:spChg chg="mod">
          <ac:chgData name="Batuhan Yildiz" userId="90f344fc-4655-4923-aeaf-697bba59c1a7" providerId="ADAL" clId="{C4D54E99-673C-43B2-A218-475B4FDEDCC6}" dt="2020-05-22T08:23:42.726" v="481" actId="1076"/>
          <ac:spMkLst>
            <pc:docMk/>
            <pc:sldMk cId="3635708424" sldId="674"/>
            <ac:spMk id="59" creationId="{906BF247-ED15-4778-B9BE-E14D89939CF8}"/>
          </ac:spMkLst>
        </pc:spChg>
        <pc:spChg chg="mod">
          <ac:chgData name="Batuhan Yildiz" userId="90f344fc-4655-4923-aeaf-697bba59c1a7" providerId="ADAL" clId="{C4D54E99-673C-43B2-A218-475B4FDEDCC6}" dt="2020-05-22T08:22:48.999" v="476" actId="1076"/>
          <ac:spMkLst>
            <pc:docMk/>
            <pc:sldMk cId="3635708424" sldId="674"/>
            <ac:spMk id="61" creationId="{F18D267F-4855-4442-9A1A-6DCA209171F0}"/>
          </ac:spMkLst>
        </pc:spChg>
        <pc:spChg chg="mod">
          <ac:chgData name="Batuhan Yildiz" userId="90f344fc-4655-4923-aeaf-697bba59c1a7" providerId="ADAL" clId="{C4D54E99-673C-43B2-A218-475B4FDEDCC6}" dt="2020-05-22T08:22:48.999" v="476" actId="1076"/>
          <ac:spMkLst>
            <pc:docMk/>
            <pc:sldMk cId="3635708424" sldId="674"/>
            <ac:spMk id="62" creationId="{973E1E38-EC29-48C5-A33A-FD197231BC97}"/>
          </ac:spMkLst>
        </pc:spChg>
        <pc:spChg chg="mod">
          <ac:chgData name="Batuhan Yildiz" userId="90f344fc-4655-4923-aeaf-697bba59c1a7" providerId="ADAL" clId="{C4D54E99-673C-43B2-A218-475B4FDEDCC6}" dt="2020-05-22T08:22:48.999" v="476" actId="1076"/>
          <ac:spMkLst>
            <pc:docMk/>
            <pc:sldMk cId="3635708424" sldId="674"/>
            <ac:spMk id="63" creationId="{18424563-91CE-4987-8DEE-3DB66E8C61B8}"/>
          </ac:spMkLst>
        </pc:spChg>
        <pc:spChg chg="mod">
          <ac:chgData name="Batuhan Yildiz" userId="90f344fc-4655-4923-aeaf-697bba59c1a7" providerId="ADAL" clId="{C4D54E99-673C-43B2-A218-475B4FDEDCC6}" dt="2020-05-22T08:23:32.565" v="480" actId="1076"/>
          <ac:spMkLst>
            <pc:docMk/>
            <pc:sldMk cId="3635708424" sldId="674"/>
            <ac:spMk id="64" creationId="{295E84C9-64F9-41E3-AB6A-3D4BEABA2B91}"/>
          </ac:spMkLst>
        </pc:spChg>
        <pc:grpChg chg="mod">
          <ac:chgData name="Batuhan Yildiz" userId="90f344fc-4655-4923-aeaf-697bba59c1a7" providerId="ADAL" clId="{C4D54E99-673C-43B2-A218-475B4FDEDCC6}" dt="2020-05-22T08:23:32.565" v="480" actId="1076"/>
          <ac:grpSpMkLst>
            <pc:docMk/>
            <pc:sldMk cId="3635708424" sldId="674"/>
            <ac:grpSpMk id="5" creationId="{AF017561-8886-4EE4-B0A2-0B0EF23EC8D9}"/>
          </ac:grpSpMkLst>
        </pc:grpChg>
        <pc:grpChg chg="mod">
          <ac:chgData name="Batuhan Yildiz" userId="90f344fc-4655-4923-aeaf-697bba59c1a7" providerId="ADAL" clId="{C4D54E99-673C-43B2-A218-475B4FDEDCC6}" dt="2020-05-22T08:23:32.565" v="480" actId="1076"/>
          <ac:grpSpMkLst>
            <pc:docMk/>
            <pc:sldMk cId="3635708424" sldId="674"/>
            <ac:grpSpMk id="8" creationId="{8EC2393B-288B-4BEE-8298-C7D85D28A9DD}"/>
          </ac:grpSpMkLst>
        </pc:grpChg>
        <pc:grpChg chg="mod">
          <ac:chgData name="Batuhan Yildiz" userId="90f344fc-4655-4923-aeaf-697bba59c1a7" providerId="ADAL" clId="{C4D54E99-673C-43B2-A218-475B4FDEDCC6}" dt="2020-05-22T08:23:32.565" v="480" actId="1076"/>
          <ac:grpSpMkLst>
            <pc:docMk/>
            <pc:sldMk cId="3635708424" sldId="674"/>
            <ac:grpSpMk id="11" creationId="{1B2E1ABD-81B7-4E54-BD1F-336E7BA240A8}"/>
          </ac:grpSpMkLst>
        </pc:grpChg>
        <pc:grpChg chg="mod">
          <ac:chgData name="Batuhan Yildiz" userId="90f344fc-4655-4923-aeaf-697bba59c1a7" providerId="ADAL" clId="{C4D54E99-673C-43B2-A218-475B4FDEDCC6}" dt="2020-05-22T08:23:32.565" v="480" actId="1076"/>
          <ac:grpSpMkLst>
            <pc:docMk/>
            <pc:sldMk cId="3635708424" sldId="674"/>
            <ac:grpSpMk id="14" creationId="{A78C5848-E335-4D50-8FA4-AC2B07B66098}"/>
          </ac:grpSpMkLst>
        </pc:grpChg>
        <pc:grpChg chg="mod">
          <ac:chgData name="Batuhan Yildiz" userId="90f344fc-4655-4923-aeaf-697bba59c1a7" providerId="ADAL" clId="{C4D54E99-673C-43B2-A218-475B4FDEDCC6}" dt="2020-05-22T08:23:32.565" v="480" actId="1076"/>
          <ac:grpSpMkLst>
            <pc:docMk/>
            <pc:sldMk cId="3635708424" sldId="674"/>
            <ac:grpSpMk id="17" creationId="{28BAA599-9049-452A-8AA6-58B758B506A2}"/>
          </ac:grpSpMkLst>
        </pc:grpChg>
        <pc:grpChg chg="mod">
          <ac:chgData name="Batuhan Yildiz" userId="90f344fc-4655-4923-aeaf-697bba59c1a7" providerId="ADAL" clId="{C4D54E99-673C-43B2-A218-475B4FDEDCC6}" dt="2020-05-22T08:23:32.565" v="480" actId="1076"/>
          <ac:grpSpMkLst>
            <pc:docMk/>
            <pc:sldMk cId="3635708424" sldId="674"/>
            <ac:grpSpMk id="20" creationId="{555F5EB5-5ADC-4368-B761-47525A458D88}"/>
          </ac:grpSpMkLst>
        </pc:grpChg>
        <pc:grpChg chg="mod">
          <ac:chgData name="Batuhan Yildiz" userId="90f344fc-4655-4923-aeaf-697bba59c1a7" providerId="ADAL" clId="{C4D54E99-673C-43B2-A218-475B4FDEDCC6}" dt="2020-05-22T08:23:32.565" v="480" actId="1076"/>
          <ac:grpSpMkLst>
            <pc:docMk/>
            <pc:sldMk cId="3635708424" sldId="674"/>
            <ac:grpSpMk id="23" creationId="{D00B00A2-913E-4848-9103-99A70BEB3F28}"/>
          </ac:grpSpMkLst>
        </pc:grpChg>
        <pc:grpChg chg="mod">
          <ac:chgData name="Batuhan Yildiz" userId="90f344fc-4655-4923-aeaf-697bba59c1a7" providerId="ADAL" clId="{C4D54E99-673C-43B2-A218-475B4FDEDCC6}" dt="2020-05-22T08:23:32.565" v="480" actId="1076"/>
          <ac:grpSpMkLst>
            <pc:docMk/>
            <pc:sldMk cId="3635708424" sldId="674"/>
            <ac:grpSpMk id="26" creationId="{F3BDA354-CD68-4D6B-83DE-B81A2721E3FE}"/>
          </ac:grpSpMkLst>
        </pc:grpChg>
        <pc:grpChg chg="mod">
          <ac:chgData name="Batuhan Yildiz" userId="90f344fc-4655-4923-aeaf-697bba59c1a7" providerId="ADAL" clId="{C4D54E99-673C-43B2-A218-475B4FDEDCC6}" dt="2020-05-22T08:23:32.565" v="480" actId="1076"/>
          <ac:grpSpMkLst>
            <pc:docMk/>
            <pc:sldMk cId="3635708424" sldId="674"/>
            <ac:grpSpMk id="29" creationId="{A09D5FBF-162D-4189-85B2-00C0DD1E2D44}"/>
          </ac:grpSpMkLst>
        </pc:grpChg>
        <pc:grpChg chg="mod">
          <ac:chgData name="Batuhan Yildiz" userId="90f344fc-4655-4923-aeaf-697bba59c1a7" providerId="ADAL" clId="{C4D54E99-673C-43B2-A218-475B4FDEDCC6}" dt="2020-05-22T08:23:32.565" v="480" actId="1076"/>
          <ac:grpSpMkLst>
            <pc:docMk/>
            <pc:sldMk cId="3635708424" sldId="674"/>
            <ac:grpSpMk id="67" creationId="{8735EC84-C8DF-49DC-964B-1544FCA9DAFE}"/>
          </ac:grpSpMkLst>
        </pc:grpChg>
        <pc:grpChg chg="mod">
          <ac:chgData name="Batuhan Yildiz" userId="90f344fc-4655-4923-aeaf-697bba59c1a7" providerId="ADAL" clId="{C4D54E99-673C-43B2-A218-475B4FDEDCC6}" dt="2020-05-22T08:23:42.726" v="481" actId="1076"/>
          <ac:grpSpMkLst>
            <pc:docMk/>
            <pc:sldMk cId="3635708424" sldId="674"/>
            <ac:grpSpMk id="68" creationId="{D6189825-43FA-4F36-AD40-2397CAFB6A61}"/>
          </ac:grpSpMkLst>
        </pc:grpChg>
        <pc:cxnChg chg="mod">
          <ac:chgData name="Batuhan Yildiz" userId="90f344fc-4655-4923-aeaf-697bba59c1a7" providerId="ADAL" clId="{C4D54E99-673C-43B2-A218-475B4FDEDCC6}" dt="2020-05-22T08:22:48.999" v="476" actId="1076"/>
          <ac:cxnSpMkLst>
            <pc:docMk/>
            <pc:sldMk cId="3635708424" sldId="674"/>
            <ac:cxnSpMk id="57" creationId="{E3835AC4-C5FF-4C23-A71E-77A0ECF7F821}"/>
          </ac:cxnSpMkLst>
        </pc:cxnChg>
        <pc:cxnChg chg="mod">
          <ac:chgData name="Batuhan Yildiz" userId="90f344fc-4655-4923-aeaf-697bba59c1a7" providerId="ADAL" clId="{C4D54E99-673C-43B2-A218-475B4FDEDCC6}" dt="2020-05-22T08:22:48.999" v="476" actId="1076"/>
          <ac:cxnSpMkLst>
            <pc:docMk/>
            <pc:sldMk cId="3635708424" sldId="674"/>
            <ac:cxnSpMk id="58" creationId="{89D58723-AFCA-4162-9425-ACEA1787F550}"/>
          </ac:cxnSpMkLst>
        </pc:cxnChg>
        <pc:cxnChg chg="mod">
          <ac:chgData name="Batuhan Yildiz" userId="90f344fc-4655-4923-aeaf-697bba59c1a7" providerId="ADAL" clId="{C4D54E99-673C-43B2-A218-475B4FDEDCC6}" dt="2020-05-22T08:22:48.999" v="476" actId="1076"/>
          <ac:cxnSpMkLst>
            <pc:docMk/>
            <pc:sldMk cId="3635708424" sldId="674"/>
            <ac:cxnSpMk id="60" creationId="{6613F88F-17C0-4E7C-8618-00EAA11F86D3}"/>
          </ac:cxnSpMkLst>
        </pc:cxnChg>
      </pc:sldChg>
      <pc:sldChg chg="modSp mod">
        <pc:chgData name="Batuhan Yildiz" userId="90f344fc-4655-4923-aeaf-697bba59c1a7" providerId="ADAL" clId="{C4D54E99-673C-43B2-A218-475B4FDEDCC6}" dt="2020-05-22T08:26:27.592" v="497" actId="1076"/>
        <pc:sldMkLst>
          <pc:docMk/>
          <pc:sldMk cId="1383739927" sldId="675"/>
        </pc:sldMkLst>
        <pc:spChg chg="mod">
          <ac:chgData name="Batuhan Yildiz" userId="90f344fc-4655-4923-aeaf-697bba59c1a7" providerId="ADAL" clId="{C4D54E99-673C-43B2-A218-475B4FDEDCC6}" dt="2020-05-22T08:26:26.503" v="496" actId="1076"/>
          <ac:spMkLst>
            <pc:docMk/>
            <pc:sldMk cId="1383739927" sldId="675"/>
            <ac:spMk id="38" creationId="{F14F7995-BA44-40E9-9688-471864B687D8}"/>
          </ac:spMkLst>
        </pc:spChg>
        <pc:spChg chg="mod">
          <ac:chgData name="Batuhan Yildiz" userId="90f344fc-4655-4923-aeaf-697bba59c1a7" providerId="ADAL" clId="{C4D54E99-673C-43B2-A218-475B4FDEDCC6}" dt="2020-05-22T08:26:27.592" v="497" actId="1076"/>
          <ac:spMkLst>
            <pc:docMk/>
            <pc:sldMk cId="1383739927" sldId="675"/>
            <ac:spMk id="53" creationId="{2C5C1A47-F6CD-4E42-B6DF-A1C35FEBCFD6}"/>
          </ac:spMkLst>
        </pc:spChg>
        <pc:spChg chg="mod">
          <ac:chgData name="Batuhan Yildiz" userId="90f344fc-4655-4923-aeaf-697bba59c1a7" providerId="ADAL" clId="{C4D54E99-673C-43B2-A218-475B4FDEDCC6}" dt="2020-05-22T08:26:27.592" v="497" actId="1076"/>
          <ac:spMkLst>
            <pc:docMk/>
            <pc:sldMk cId="1383739927" sldId="675"/>
            <ac:spMk id="56" creationId="{793972C5-BC52-45A1-86B1-9FEDF7952217}"/>
          </ac:spMkLst>
        </pc:spChg>
        <pc:grpChg chg="mod">
          <ac:chgData name="Batuhan Yildiz" userId="90f344fc-4655-4923-aeaf-697bba59c1a7" providerId="ADAL" clId="{C4D54E99-673C-43B2-A218-475B4FDEDCC6}" dt="2020-05-22T08:26:27.592" v="497" actId="1076"/>
          <ac:grpSpMkLst>
            <pc:docMk/>
            <pc:sldMk cId="1383739927" sldId="675"/>
            <ac:grpSpMk id="18" creationId="{0FCC5C94-11BD-43F4-A013-C1D7B5BB3BDB}"/>
          </ac:grpSpMkLst>
        </pc:grpChg>
        <pc:cxnChg chg="mod">
          <ac:chgData name="Batuhan Yildiz" userId="90f344fc-4655-4923-aeaf-697bba59c1a7" providerId="ADAL" clId="{C4D54E99-673C-43B2-A218-475B4FDEDCC6}" dt="2020-05-22T08:26:27.592" v="497" actId="1076"/>
          <ac:cxnSpMkLst>
            <pc:docMk/>
            <pc:sldMk cId="1383739927" sldId="675"/>
            <ac:cxnSpMk id="17" creationId="{643082BB-1DAC-46B5-AD16-D4C3DFA75C77}"/>
          </ac:cxnSpMkLst>
        </pc:cxnChg>
        <pc:cxnChg chg="mod">
          <ac:chgData name="Batuhan Yildiz" userId="90f344fc-4655-4923-aeaf-697bba59c1a7" providerId="ADAL" clId="{C4D54E99-673C-43B2-A218-475B4FDEDCC6}" dt="2020-05-22T08:26:27.592" v="497" actId="1076"/>
          <ac:cxnSpMkLst>
            <pc:docMk/>
            <pc:sldMk cId="1383739927" sldId="675"/>
            <ac:cxnSpMk id="52" creationId="{5012F121-8805-4428-8D42-E58E48F7130A}"/>
          </ac:cxnSpMkLst>
        </pc:cxnChg>
      </pc:sldChg>
      <pc:sldChg chg="delSp mod">
        <pc:chgData name="Batuhan Yildiz" userId="90f344fc-4655-4923-aeaf-697bba59c1a7" providerId="ADAL" clId="{C4D54E99-673C-43B2-A218-475B4FDEDCC6}" dt="2020-05-22T08:24:58.664" v="489" actId="478"/>
        <pc:sldMkLst>
          <pc:docMk/>
          <pc:sldMk cId="2423425577" sldId="678"/>
        </pc:sldMkLst>
        <pc:spChg chg="del">
          <ac:chgData name="Batuhan Yildiz" userId="90f344fc-4655-4923-aeaf-697bba59c1a7" providerId="ADAL" clId="{C4D54E99-673C-43B2-A218-475B4FDEDCC6}" dt="2020-05-22T08:24:58.664" v="489" actId="478"/>
          <ac:spMkLst>
            <pc:docMk/>
            <pc:sldMk cId="2423425577" sldId="678"/>
            <ac:spMk id="3" creationId="{B1D023C5-C0D2-4FCC-9E41-5FD37CAED508}"/>
          </ac:spMkLst>
        </pc:spChg>
      </pc:sldChg>
      <pc:sldChg chg="delSp mod">
        <pc:chgData name="Batuhan Yildiz" userId="90f344fc-4655-4923-aeaf-697bba59c1a7" providerId="ADAL" clId="{C4D54E99-673C-43B2-A218-475B4FDEDCC6}" dt="2020-05-22T08:30:46.383" v="516" actId="478"/>
        <pc:sldMkLst>
          <pc:docMk/>
          <pc:sldMk cId="2873864563" sldId="695"/>
        </pc:sldMkLst>
        <pc:spChg chg="del">
          <ac:chgData name="Batuhan Yildiz" userId="90f344fc-4655-4923-aeaf-697bba59c1a7" providerId="ADAL" clId="{C4D54E99-673C-43B2-A218-475B4FDEDCC6}" dt="2020-05-22T08:30:46.383" v="516" actId="478"/>
          <ac:spMkLst>
            <pc:docMk/>
            <pc:sldMk cId="2873864563" sldId="695"/>
            <ac:spMk id="3" creationId="{F35E8CBB-5A7D-4DEF-BAF7-8DD5D042F9E0}"/>
          </ac:spMkLst>
        </pc:spChg>
      </pc:sldChg>
      <pc:sldChg chg="addSp delSp modSp mod">
        <pc:chgData name="Batuhan Yildiz" userId="90f344fc-4655-4923-aeaf-697bba59c1a7" providerId="ADAL" clId="{C4D54E99-673C-43B2-A218-475B4FDEDCC6}" dt="2020-05-22T08:31:03.618" v="519" actId="478"/>
        <pc:sldMkLst>
          <pc:docMk/>
          <pc:sldMk cId="94860651" sldId="696"/>
        </pc:sldMkLst>
        <pc:spChg chg="del">
          <ac:chgData name="Batuhan Yildiz" userId="90f344fc-4655-4923-aeaf-697bba59c1a7" providerId="ADAL" clId="{C4D54E99-673C-43B2-A218-475B4FDEDCC6}" dt="2020-05-22T08:31:03.618" v="519" actId="478"/>
          <ac:spMkLst>
            <pc:docMk/>
            <pc:sldMk cId="94860651" sldId="696"/>
            <ac:spMk id="3" creationId="{F35E8CBB-5A7D-4DEF-BAF7-8DD5D042F9E0}"/>
          </ac:spMkLst>
        </pc:spChg>
        <pc:spChg chg="add del">
          <ac:chgData name="Batuhan Yildiz" userId="90f344fc-4655-4923-aeaf-697bba59c1a7" providerId="ADAL" clId="{C4D54E99-673C-43B2-A218-475B4FDEDCC6}" dt="2020-05-22T08:31:00.566" v="518" actId="478"/>
          <ac:spMkLst>
            <pc:docMk/>
            <pc:sldMk cId="94860651" sldId="696"/>
            <ac:spMk id="4" creationId="{F3616A99-090F-45E1-9334-58D58B148205}"/>
          </ac:spMkLst>
        </pc:spChg>
        <pc:spChg chg="add del mod">
          <ac:chgData name="Batuhan Yildiz" userId="90f344fc-4655-4923-aeaf-697bba59c1a7" providerId="ADAL" clId="{C4D54E99-673C-43B2-A218-475B4FDEDCC6}" dt="2020-05-22T08:31:00.566" v="518" actId="478"/>
          <ac:spMkLst>
            <pc:docMk/>
            <pc:sldMk cId="94860651" sldId="696"/>
            <ac:spMk id="10" creationId="{AF39AD8A-DBF5-4811-A8BB-FF0ADB0C6609}"/>
          </ac:spMkLst>
        </pc:spChg>
      </pc:sldChg>
      <pc:sldChg chg="addSp delSp modSp mod modClrScheme chgLayout">
        <pc:chgData name="Batuhan Yildiz" userId="90f344fc-4655-4923-aeaf-697bba59c1a7" providerId="ADAL" clId="{C4D54E99-673C-43B2-A218-475B4FDEDCC6}" dt="2020-05-22T07:48:40.728" v="225" actId="1076"/>
        <pc:sldMkLst>
          <pc:docMk/>
          <pc:sldMk cId="1667766974" sldId="1397"/>
        </pc:sldMkLst>
        <pc:spChg chg="mod ord">
          <ac:chgData name="Batuhan Yildiz" userId="90f344fc-4655-4923-aeaf-697bba59c1a7" providerId="ADAL" clId="{C4D54E99-673C-43B2-A218-475B4FDEDCC6}" dt="2020-05-22T07:48:21.343" v="221" actId="700"/>
          <ac:spMkLst>
            <pc:docMk/>
            <pc:sldMk cId="1667766974" sldId="1397"/>
            <ac:spMk id="2" creationId="{00000000-0000-0000-0000-000000000000}"/>
          </ac:spMkLst>
        </pc:spChg>
        <pc:spChg chg="add mod ord">
          <ac:chgData name="Batuhan Yildiz" userId="90f344fc-4655-4923-aeaf-697bba59c1a7" providerId="ADAL" clId="{C4D54E99-673C-43B2-A218-475B4FDEDCC6}" dt="2020-05-22T07:48:33.556" v="224" actId="5793"/>
          <ac:spMkLst>
            <pc:docMk/>
            <pc:sldMk cId="1667766974" sldId="1397"/>
            <ac:spMk id="3" creationId="{B563F7B7-5821-482F-94D3-83A28B00C545}"/>
          </ac:spMkLst>
        </pc:spChg>
        <pc:spChg chg="mod">
          <ac:chgData name="Batuhan Yildiz" userId="90f344fc-4655-4923-aeaf-697bba59c1a7" providerId="ADAL" clId="{C4D54E99-673C-43B2-A218-475B4FDEDCC6}" dt="2020-05-22T07:48:40.728" v="225" actId="1076"/>
          <ac:spMkLst>
            <pc:docMk/>
            <pc:sldMk cId="1667766974" sldId="1397"/>
            <ac:spMk id="6" creationId="{00000000-0000-0000-0000-000000000000}"/>
          </ac:spMkLst>
        </pc:spChg>
        <pc:spChg chg="del">
          <ac:chgData name="Batuhan Yildiz" userId="90f344fc-4655-4923-aeaf-697bba59c1a7" providerId="ADAL" clId="{C4D54E99-673C-43B2-A218-475B4FDEDCC6}" dt="2020-05-22T07:48:28.930" v="222" actId="478"/>
          <ac:spMkLst>
            <pc:docMk/>
            <pc:sldMk cId="1667766974" sldId="1397"/>
            <ac:spMk id="15" creationId="{00000000-0000-0000-0000-000000000000}"/>
          </ac:spMkLst>
        </pc:spChg>
      </pc:sldChg>
      <pc:sldChg chg="addSp delSp modSp mod modClrScheme chgLayout">
        <pc:chgData name="Batuhan Yildiz" userId="90f344fc-4655-4923-aeaf-697bba59c1a7" providerId="ADAL" clId="{C4D54E99-673C-43B2-A218-475B4FDEDCC6}" dt="2020-05-22T07:51:20.773" v="281" actId="1038"/>
        <pc:sldMkLst>
          <pc:docMk/>
          <pc:sldMk cId="3087139904" sldId="1402"/>
        </pc:sldMkLst>
        <pc:spChg chg="add del mod ord">
          <ac:chgData name="Batuhan Yildiz" userId="90f344fc-4655-4923-aeaf-697bba59c1a7" providerId="ADAL" clId="{C4D54E99-673C-43B2-A218-475B4FDEDCC6}" dt="2020-05-22T07:50:09.178" v="228" actId="700"/>
          <ac:spMkLst>
            <pc:docMk/>
            <pc:sldMk cId="3087139904" sldId="1402"/>
            <ac:spMk id="2" creationId="{347D95D9-18C5-4F08-AD4B-A6224C72312F}"/>
          </ac:spMkLst>
        </pc:spChg>
        <pc:spChg chg="add del mod ord">
          <ac:chgData name="Batuhan Yildiz" userId="90f344fc-4655-4923-aeaf-697bba59c1a7" providerId="ADAL" clId="{C4D54E99-673C-43B2-A218-475B4FDEDCC6}" dt="2020-05-22T07:50:09.178" v="228" actId="700"/>
          <ac:spMkLst>
            <pc:docMk/>
            <pc:sldMk cId="3087139904" sldId="1402"/>
            <ac:spMk id="3" creationId="{DC90914A-0CCC-4115-BE4B-BDBE5359F500}"/>
          </ac:spMkLst>
        </pc:spChg>
        <pc:spChg chg="mod">
          <ac:chgData name="Batuhan Yildiz" userId="90f344fc-4655-4923-aeaf-697bba59c1a7" providerId="ADAL" clId="{C4D54E99-673C-43B2-A218-475B4FDEDCC6}" dt="2020-05-22T07:51:20.773" v="281" actId="1038"/>
          <ac:spMkLst>
            <pc:docMk/>
            <pc:sldMk cId="3087139904" sldId="1402"/>
            <ac:spMk id="5" creationId="{00000000-0000-0000-0000-000000000000}"/>
          </ac:spMkLst>
        </pc:spChg>
        <pc:spChg chg="mod">
          <ac:chgData name="Batuhan Yildiz" userId="90f344fc-4655-4923-aeaf-697bba59c1a7" providerId="ADAL" clId="{C4D54E99-673C-43B2-A218-475B4FDEDCC6}" dt="2020-05-22T07:51:12.603" v="260" actId="1037"/>
          <ac:spMkLst>
            <pc:docMk/>
            <pc:sldMk cId="3087139904" sldId="1402"/>
            <ac:spMk id="9" creationId="{00000000-0000-0000-0000-000000000000}"/>
          </ac:spMkLst>
        </pc:spChg>
        <pc:spChg chg="del">
          <ac:chgData name="Batuhan Yildiz" userId="90f344fc-4655-4923-aeaf-697bba59c1a7" providerId="ADAL" clId="{C4D54E99-673C-43B2-A218-475B4FDEDCC6}" dt="2020-05-22T07:50:36.385" v="235" actId="478"/>
          <ac:spMkLst>
            <pc:docMk/>
            <pc:sldMk cId="3087139904" sldId="1402"/>
            <ac:spMk id="30" creationId="{00000000-0000-0000-0000-000000000000}"/>
          </ac:spMkLst>
        </pc:spChg>
        <pc:spChg chg="mod">
          <ac:chgData name="Batuhan Yildiz" userId="90f344fc-4655-4923-aeaf-697bba59c1a7" providerId="ADAL" clId="{C4D54E99-673C-43B2-A218-475B4FDEDCC6}" dt="2020-05-22T07:50:59.033" v="240" actId="14100"/>
          <ac:spMkLst>
            <pc:docMk/>
            <pc:sldMk cId="3087139904" sldId="1402"/>
            <ac:spMk id="31" creationId="{00000000-0000-0000-0000-000000000000}"/>
          </ac:spMkLst>
        </pc:spChg>
        <pc:spChg chg="add del mod ord">
          <ac:chgData name="Batuhan Yildiz" userId="90f344fc-4655-4923-aeaf-697bba59c1a7" providerId="ADAL" clId="{C4D54E99-673C-43B2-A218-475B4FDEDCC6}" dt="2020-05-22T07:50:32.967" v="234" actId="700"/>
          <ac:spMkLst>
            <pc:docMk/>
            <pc:sldMk cId="3087139904" sldId="1402"/>
            <ac:spMk id="32" creationId="{2BC965CD-6C5B-4754-BDD0-A19FC7132C8E}"/>
          </ac:spMkLst>
        </pc:spChg>
        <pc:spChg chg="add del mod ord">
          <ac:chgData name="Batuhan Yildiz" userId="90f344fc-4655-4923-aeaf-697bba59c1a7" providerId="ADAL" clId="{C4D54E99-673C-43B2-A218-475B4FDEDCC6}" dt="2020-05-22T07:50:32.967" v="234" actId="700"/>
          <ac:spMkLst>
            <pc:docMk/>
            <pc:sldMk cId="3087139904" sldId="1402"/>
            <ac:spMk id="33" creationId="{6BA04206-78DE-4CD5-8306-90D87C885362}"/>
          </ac:spMkLst>
        </pc:spChg>
        <pc:spChg chg="add mod ord">
          <ac:chgData name="Batuhan Yildiz" userId="90f344fc-4655-4923-aeaf-697bba59c1a7" providerId="ADAL" clId="{C4D54E99-673C-43B2-A218-475B4FDEDCC6}" dt="2020-05-22T07:50:45.541" v="238" actId="20577"/>
          <ac:spMkLst>
            <pc:docMk/>
            <pc:sldMk cId="3087139904" sldId="1402"/>
            <ac:spMk id="34" creationId="{26729B6B-51DA-46D7-B077-1AA1068C93D2}"/>
          </ac:spMkLst>
        </pc:spChg>
        <pc:spChg chg="add del mod ord">
          <ac:chgData name="Batuhan Yildiz" userId="90f344fc-4655-4923-aeaf-697bba59c1a7" providerId="ADAL" clId="{C4D54E99-673C-43B2-A218-475B4FDEDCC6}" dt="2020-05-22T07:51:05.197" v="241" actId="478"/>
          <ac:spMkLst>
            <pc:docMk/>
            <pc:sldMk cId="3087139904" sldId="1402"/>
            <ac:spMk id="35" creationId="{09A86652-103F-48C0-BEFE-D1FA55448223}"/>
          </ac:spMkLst>
        </pc:spChg>
      </pc:sldChg>
      <pc:sldChg chg="modSp mod modClrScheme chgLayout">
        <pc:chgData name="Batuhan Yildiz" userId="90f344fc-4655-4923-aeaf-697bba59c1a7" providerId="ADAL" clId="{C4D54E99-673C-43B2-A218-475B4FDEDCC6}" dt="2020-05-22T07:52:35.705" v="284" actId="700"/>
        <pc:sldMkLst>
          <pc:docMk/>
          <pc:sldMk cId="1483710239" sldId="1403"/>
        </pc:sldMkLst>
        <pc:spChg chg="mod ord">
          <ac:chgData name="Batuhan Yildiz" userId="90f344fc-4655-4923-aeaf-697bba59c1a7" providerId="ADAL" clId="{C4D54E99-673C-43B2-A218-475B4FDEDCC6}" dt="2020-05-22T07:52:35.705" v="284" actId="700"/>
          <ac:spMkLst>
            <pc:docMk/>
            <pc:sldMk cId="1483710239" sldId="1403"/>
            <ac:spMk id="2" creationId="{00000000-0000-0000-0000-000000000000}"/>
          </ac:spMkLst>
        </pc:spChg>
        <pc:spChg chg="mod ord">
          <ac:chgData name="Batuhan Yildiz" userId="90f344fc-4655-4923-aeaf-697bba59c1a7" providerId="ADAL" clId="{C4D54E99-673C-43B2-A218-475B4FDEDCC6}" dt="2020-05-22T07:52:35.705" v="284" actId="700"/>
          <ac:spMkLst>
            <pc:docMk/>
            <pc:sldMk cId="1483710239" sldId="1403"/>
            <ac:spMk id="3" creationId="{00000000-0000-0000-0000-000000000000}"/>
          </ac:spMkLst>
        </pc:spChg>
        <pc:grpChg chg="mod">
          <ac:chgData name="Batuhan Yildiz" userId="90f344fc-4655-4923-aeaf-697bba59c1a7" providerId="ADAL" clId="{C4D54E99-673C-43B2-A218-475B4FDEDCC6}" dt="2020-05-22T07:52:07.396" v="283" actId="207"/>
          <ac:grpSpMkLst>
            <pc:docMk/>
            <pc:sldMk cId="1483710239" sldId="1403"/>
            <ac:grpSpMk id="4"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55"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63"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71"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79" creationId="{00000000-0000-0000-0000-000000000000}"/>
          </ac:grpSpMkLst>
        </pc:grpChg>
        <pc:grpChg chg="mod">
          <ac:chgData name="Batuhan Yildiz" userId="90f344fc-4655-4923-aeaf-697bba59c1a7" providerId="ADAL" clId="{C4D54E99-673C-43B2-A218-475B4FDEDCC6}" dt="2020-05-22T07:52:07.396" v="283" actId="207"/>
          <ac:grpSpMkLst>
            <pc:docMk/>
            <pc:sldMk cId="1483710239" sldId="1403"/>
            <ac:grpSpMk id="87" creationId="{00000000-0000-0000-0000-000000000000}"/>
          </ac:grpSpMkLst>
        </pc:grpChg>
      </pc:sldChg>
      <pc:sldChg chg="modSp mod chgLayout">
        <pc:chgData name="Batuhan Yildiz" userId="90f344fc-4655-4923-aeaf-697bba59c1a7" providerId="ADAL" clId="{C4D54E99-673C-43B2-A218-475B4FDEDCC6}" dt="2020-05-22T07:53:32.849" v="286" actId="947"/>
        <pc:sldMkLst>
          <pc:docMk/>
          <pc:sldMk cId="235990786" sldId="1420"/>
        </pc:sldMkLst>
        <pc:spChg chg="mod ord">
          <ac:chgData name="Batuhan Yildiz" userId="90f344fc-4655-4923-aeaf-697bba59c1a7" providerId="ADAL" clId="{C4D54E99-673C-43B2-A218-475B4FDEDCC6}" dt="2020-05-22T07:53:25.879" v="285" actId="700"/>
          <ac:spMkLst>
            <pc:docMk/>
            <pc:sldMk cId="235990786" sldId="1420"/>
            <ac:spMk id="2" creationId="{00000000-0000-0000-0000-000000000000}"/>
          </ac:spMkLst>
        </pc:spChg>
        <pc:spChg chg="mod ord">
          <ac:chgData name="Batuhan Yildiz" userId="90f344fc-4655-4923-aeaf-697bba59c1a7" providerId="ADAL" clId="{C4D54E99-673C-43B2-A218-475B4FDEDCC6}" dt="2020-05-22T07:53:32.849" v="286" actId="947"/>
          <ac:spMkLst>
            <pc:docMk/>
            <pc:sldMk cId="235990786" sldId="1420"/>
            <ac:spMk id="3" creationId="{00000000-0000-0000-0000-000000000000}"/>
          </ac:spMkLst>
        </pc:spChg>
      </pc:sldChg>
      <pc:sldChg chg="modSp mod">
        <pc:chgData name="Batuhan Yildiz" userId="90f344fc-4655-4923-aeaf-697bba59c1a7" providerId="ADAL" clId="{C4D54E99-673C-43B2-A218-475B4FDEDCC6}" dt="2020-05-22T07:53:52.103" v="287" actId="1076"/>
        <pc:sldMkLst>
          <pc:docMk/>
          <pc:sldMk cId="996256290" sldId="1421"/>
        </pc:sldMkLst>
        <pc:picChg chg="mod">
          <ac:chgData name="Batuhan Yildiz" userId="90f344fc-4655-4923-aeaf-697bba59c1a7" providerId="ADAL" clId="{C4D54E99-673C-43B2-A218-475B4FDEDCC6}" dt="2020-05-22T07:53:52.103" v="287" actId="1076"/>
          <ac:picMkLst>
            <pc:docMk/>
            <pc:sldMk cId="996256290" sldId="1421"/>
            <ac:picMk id="5" creationId="{00000000-0000-0000-0000-000000000000}"/>
          </ac:picMkLst>
        </pc:picChg>
      </pc:sldChg>
      <pc:sldChg chg="addSp delSp modSp mod modClrScheme chgLayout">
        <pc:chgData name="Batuhan Yildiz" userId="90f344fc-4655-4923-aeaf-697bba59c1a7" providerId="ADAL" clId="{C4D54E99-673C-43B2-A218-475B4FDEDCC6}" dt="2020-05-22T07:56:09.141" v="299" actId="478"/>
        <pc:sldMkLst>
          <pc:docMk/>
          <pc:sldMk cId="2843153520" sldId="1422"/>
        </pc:sldMkLst>
        <pc:spChg chg="mod ord">
          <ac:chgData name="Batuhan Yildiz" userId="90f344fc-4655-4923-aeaf-697bba59c1a7" providerId="ADAL" clId="{C4D54E99-673C-43B2-A218-475B4FDEDCC6}" dt="2020-05-22T07:54:43.059" v="288" actId="700"/>
          <ac:spMkLst>
            <pc:docMk/>
            <pc:sldMk cId="2843153520" sldId="1422"/>
            <ac:spMk id="2" creationId="{00000000-0000-0000-0000-000000000000}"/>
          </ac:spMkLst>
        </pc:spChg>
        <pc:spChg chg="add del mod ord">
          <ac:chgData name="Batuhan Yildiz" userId="90f344fc-4655-4923-aeaf-697bba59c1a7" providerId="ADAL" clId="{C4D54E99-673C-43B2-A218-475B4FDEDCC6}" dt="2020-05-22T07:56:09.141" v="299" actId="478"/>
          <ac:spMkLst>
            <pc:docMk/>
            <pc:sldMk cId="2843153520" sldId="1422"/>
            <ac:spMk id="3" creationId="{B2D3A5ED-1D4A-4D27-B930-B7D23558DA72}"/>
          </ac:spMkLst>
        </pc:spChg>
        <pc:spChg chg="mod">
          <ac:chgData name="Batuhan Yildiz" userId="90f344fc-4655-4923-aeaf-697bba59c1a7" providerId="ADAL" clId="{C4D54E99-673C-43B2-A218-475B4FDEDCC6}" dt="2020-05-22T07:55:45.617" v="298" actId="14100"/>
          <ac:spMkLst>
            <pc:docMk/>
            <pc:sldMk cId="2843153520" sldId="1422"/>
            <ac:spMk id="4" creationId="{00000000-0000-0000-0000-000000000000}"/>
          </ac:spMkLst>
        </pc:spChg>
        <pc:spChg chg="mod">
          <ac:chgData name="Batuhan Yildiz" userId="90f344fc-4655-4923-aeaf-697bba59c1a7" providerId="ADAL" clId="{C4D54E99-673C-43B2-A218-475B4FDEDCC6}" dt="2020-05-22T07:54:53.221" v="289" actId="1076"/>
          <ac:spMkLst>
            <pc:docMk/>
            <pc:sldMk cId="2843153520" sldId="1422"/>
            <ac:spMk id="10" creationId="{00000000-0000-0000-0000-000000000000}"/>
          </ac:spMkLst>
        </pc:spChg>
        <pc:spChg chg="mod">
          <ac:chgData name="Batuhan Yildiz" userId="90f344fc-4655-4923-aeaf-697bba59c1a7" providerId="ADAL" clId="{C4D54E99-673C-43B2-A218-475B4FDEDCC6}" dt="2020-05-22T07:54:53.221" v="289" actId="1076"/>
          <ac:spMkLst>
            <pc:docMk/>
            <pc:sldMk cId="2843153520" sldId="1422"/>
            <ac:spMk id="11" creationId="{00000000-0000-0000-0000-000000000000}"/>
          </ac:spMkLst>
        </pc:spChg>
        <pc:spChg chg="mod">
          <ac:chgData name="Batuhan Yildiz" userId="90f344fc-4655-4923-aeaf-697bba59c1a7" providerId="ADAL" clId="{C4D54E99-673C-43B2-A218-475B4FDEDCC6}" dt="2020-05-22T07:54:53.221" v="289" actId="1076"/>
          <ac:spMkLst>
            <pc:docMk/>
            <pc:sldMk cId="2843153520" sldId="1422"/>
            <ac:spMk id="12" creationId="{00000000-0000-0000-0000-000000000000}"/>
          </ac:spMkLst>
        </pc:spChg>
        <pc:picChg chg="mod">
          <ac:chgData name="Batuhan Yildiz" userId="90f344fc-4655-4923-aeaf-697bba59c1a7" providerId="ADAL" clId="{C4D54E99-673C-43B2-A218-475B4FDEDCC6}" dt="2020-05-22T07:55:17.070" v="293" actId="14100"/>
          <ac:picMkLst>
            <pc:docMk/>
            <pc:sldMk cId="2843153520" sldId="1422"/>
            <ac:picMk id="6" creationId="{00000000-0000-0000-0000-000000000000}"/>
          </ac:picMkLst>
        </pc:picChg>
        <pc:picChg chg="mod">
          <ac:chgData name="Batuhan Yildiz" userId="90f344fc-4655-4923-aeaf-697bba59c1a7" providerId="ADAL" clId="{C4D54E99-673C-43B2-A218-475B4FDEDCC6}" dt="2020-05-22T07:55:26.400" v="295" actId="14100"/>
          <ac:picMkLst>
            <pc:docMk/>
            <pc:sldMk cId="2843153520" sldId="1422"/>
            <ac:picMk id="8" creationId="{00000000-0000-0000-0000-000000000000}"/>
          </ac:picMkLst>
        </pc:picChg>
      </pc:sldChg>
      <pc:sldChg chg="addSp delSp modSp mod modClrScheme chgLayout">
        <pc:chgData name="Batuhan Yildiz" userId="90f344fc-4655-4923-aeaf-697bba59c1a7" providerId="ADAL" clId="{C4D54E99-673C-43B2-A218-475B4FDEDCC6}" dt="2020-05-22T08:01:01.014" v="382" actId="478"/>
        <pc:sldMkLst>
          <pc:docMk/>
          <pc:sldMk cId="4231764735" sldId="1423"/>
        </pc:sldMkLst>
        <pc:spChg chg="mod ord">
          <ac:chgData name="Batuhan Yildiz" userId="90f344fc-4655-4923-aeaf-697bba59c1a7" providerId="ADAL" clId="{C4D54E99-673C-43B2-A218-475B4FDEDCC6}" dt="2020-05-22T07:56:42.751" v="302" actId="700"/>
          <ac:spMkLst>
            <pc:docMk/>
            <pc:sldMk cId="4231764735" sldId="1423"/>
            <ac:spMk id="2" creationId="{00000000-0000-0000-0000-000000000000}"/>
          </ac:spMkLst>
        </pc:spChg>
        <pc:spChg chg="add del mod ord">
          <ac:chgData name="Batuhan Yildiz" userId="90f344fc-4655-4923-aeaf-697bba59c1a7" providerId="ADAL" clId="{C4D54E99-673C-43B2-A218-475B4FDEDCC6}" dt="2020-05-22T07:56:42.751" v="302" actId="700"/>
          <ac:spMkLst>
            <pc:docMk/>
            <pc:sldMk cId="4231764735" sldId="1423"/>
            <ac:spMk id="3" creationId="{74B7908A-2B8A-4D14-977A-A2F88AEA474C}"/>
          </ac:spMkLst>
        </pc:spChg>
        <pc:spChg chg="add del mod ord">
          <ac:chgData name="Batuhan Yildiz" userId="90f344fc-4655-4923-aeaf-697bba59c1a7" providerId="ADAL" clId="{C4D54E99-673C-43B2-A218-475B4FDEDCC6}" dt="2020-05-22T08:01:01.014" v="382" actId="478"/>
          <ac:spMkLst>
            <pc:docMk/>
            <pc:sldMk cId="4231764735" sldId="1423"/>
            <ac:spMk id="4" creationId="{151B0094-E530-4755-9FA3-4C147295757B}"/>
          </ac:spMkLst>
        </pc:spChg>
        <pc:picChg chg="mod">
          <ac:chgData name="Batuhan Yildiz" userId="90f344fc-4655-4923-aeaf-697bba59c1a7" providerId="ADAL" clId="{C4D54E99-673C-43B2-A218-475B4FDEDCC6}" dt="2020-05-22T07:58:33.062" v="325" actId="1037"/>
          <ac:picMkLst>
            <pc:docMk/>
            <pc:sldMk cId="4231764735" sldId="1423"/>
            <ac:picMk id="22" creationId="{00000000-0000-0000-0000-000000000000}"/>
          </ac:picMkLst>
        </pc:picChg>
        <pc:picChg chg="mod">
          <ac:chgData name="Batuhan Yildiz" userId="90f344fc-4655-4923-aeaf-697bba59c1a7" providerId="ADAL" clId="{C4D54E99-673C-43B2-A218-475B4FDEDCC6}" dt="2020-05-22T07:59:18.428" v="365" actId="1076"/>
          <ac:picMkLst>
            <pc:docMk/>
            <pc:sldMk cId="4231764735" sldId="1423"/>
            <ac:picMk id="23" creationId="{00000000-0000-0000-0000-000000000000}"/>
          </ac:picMkLst>
        </pc:picChg>
        <pc:picChg chg="mod">
          <ac:chgData name="Batuhan Yildiz" userId="90f344fc-4655-4923-aeaf-697bba59c1a7" providerId="ADAL" clId="{C4D54E99-673C-43B2-A218-475B4FDEDCC6}" dt="2020-05-22T07:59:30.097" v="367" actId="1076"/>
          <ac:picMkLst>
            <pc:docMk/>
            <pc:sldMk cId="4231764735" sldId="1423"/>
            <ac:picMk id="24" creationId="{00000000-0000-0000-0000-000000000000}"/>
          </ac:picMkLst>
        </pc:picChg>
        <pc:picChg chg="mod">
          <ac:chgData name="Batuhan Yildiz" userId="90f344fc-4655-4923-aeaf-697bba59c1a7" providerId="ADAL" clId="{C4D54E99-673C-43B2-A218-475B4FDEDCC6}" dt="2020-05-22T07:59:38.422" v="369" actId="1076"/>
          <ac:picMkLst>
            <pc:docMk/>
            <pc:sldMk cId="4231764735" sldId="1423"/>
            <ac:picMk id="25" creationId="{00000000-0000-0000-0000-000000000000}"/>
          </ac:picMkLst>
        </pc:picChg>
        <pc:picChg chg="mod">
          <ac:chgData name="Batuhan Yildiz" userId="90f344fc-4655-4923-aeaf-697bba59c1a7" providerId="ADAL" clId="{C4D54E99-673C-43B2-A218-475B4FDEDCC6}" dt="2020-05-22T07:59:46.545" v="371" actId="1076"/>
          <ac:picMkLst>
            <pc:docMk/>
            <pc:sldMk cId="4231764735" sldId="1423"/>
            <ac:picMk id="26" creationId="{00000000-0000-0000-0000-000000000000}"/>
          </ac:picMkLst>
        </pc:picChg>
        <pc:picChg chg="mod">
          <ac:chgData name="Batuhan Yildiz" userId="90f344fc-4655-4923-aeaf-697bba59c1a7" providerId="ADAL" clId="{C4D54E99-673C-43B2-A218-475B4FDEDCC6}" dt="2020-05-22T08:00:00.996" v="374" actId="1076"/>
          <ac:picMkLst>
            <pc:docMk/>
            <pc:sldMk cId="4231764735" sldId="1423"/>
            <ac:picMk id="27" creationId="{00000000-0000-0000-0000-000000000000}"/>
          </ac:picMkLst>
        </pc:picChg>
        <pc:picChg chg="mod">
          <ac:chgData name="Batuhan Yildiz" userId="90f344fc-4655-4923-aeaf-697bba59c1a7" providerId="ADAL" clId="{C4D54E99-673C-43B2-A218-475B4FDEDCC6}" dt="2020-05-22T07:58:33.062" v="325" actId="1037"/>
          <ac:picMkLst>
            <pc:docMk/>
            <pc:sldMk cId="4231764735" sldId="1423"/>
            <ac:picMk id="28" creationId="{00000000-0000-0000-0000-000000000000}"/>
          </ac:picMkLst>
        </pc:picChg>
        <pc:picChg chg="mod">
          <ac:chgData name="Batuhan Yildiz" userId="90f344fc-4655-4923-aeaf-697bba59c1a7" providerId="ADAL" clId="{C4D54E99-673C-43B2-A218-475B4FDEDCC6}" dt="2020-05-22T07:59:18.428" v="365" actId="1076"/>
          <ac:picMkLst>
            <pc:docMk/>
            <pc:sldMk cId="4231764735" sldId="1423"/>
            <ac:picMk id="29" creationId="{00000000-0000-0000-0000-000000000000}"/>
          </ac:picMkLst>
        </pc:picChg>
        <pc:picChg chg="mod">
          <ac:chgData name="Batuhan Yildiz" userId="90f344fc-4655-4923-aeaf-697bba59c1a7" providerId="ADAL" clId="{C4D54E99-673C-43B2-A218-475B4FDEDCC6}" dt="2020-05-22T07:59:30.097" v="367" actId="1076"/>
          <ac:picMkLst>
            <pc:docMk/>
            <pc:sldMk cId="4231764735" sldId="1423"/>
            <ac:picMk id="30" creationId="{00000000-0000-0000-0000-000000000000}"/>
          </ac:picMkLst>
        </pc:picChg>
        <pc:picChg chg="mod">
          <ac:chgData name="Batuhan Yildiz" userId="90f344fc-4655-4923-aeaf-697bba59c1a7" providerId="ADAL" clId="{C4D54E99-673C-43B2-A218-475B4FDEDCC6}" dt="2020-05-22T07:59:38.422" v="369" actId="1076"/>
          <ac:picMkLst>
            <pc:docMk/>
            <pc:sldMk cId="4231764735" sldId="1423"/>
            <ac:picMk id="31" creationId="{00000000-0000-0000-0000-000000000000}"/>
          </ac:picMkLst>
        </pc:picChg>
        <pc:picChg chg="mod">
          <ac:chgData name="Batuhan Yildiz" userId="90f344fc-4655-4923-aeaf-697bba59c1a7" providerId="ADAL" clId="{C4D54E99-673C-43B2-A218-475B4FDEDCC6}" dt="2020-05-22T07:59:46.545" v="371" actId="1076"/>
          <ac:picMkLst>
            <pc:docMk/>
            <pc:sldMk cId="4231764735" sldId="1423"/>
            <ac:picMk id="32" creationId="{00000000-0000-0000-0000-000000000000}"/>
          </ac:picMkLst>
        </pc:picChg>
        <pc:picChg chg="add del mod">
          <ac:chgData name="Batuhan Yildiz" userId="90f344fc-4655-4923-aeaf-697bba59c1a7" providerId="ADAL" clId="{C4D54E99-673C-43B2-A218-475B4FDEDCC6}" dt="2020-05-22T08:00:57.246" v="381" actId="478"/>
          <ac:picMkLst>
            <pc:docMk/>
            <pc:sldMk cId="4231764735" sldId="1423"/>
            <ac:picMk id="33" creationId="{00000000-0000-0000-0000-000000000000}"/>
          </ac:picMkLst>
        </pc:picChg>
        <pc:cxnChg chg="mod">
          <ac:chgData name="Batuhan Yildiz" userId="90f344fc-4655-4923-aeaf-697bba59c1a7" providerId="ADAL" clId="{C4D54E99-673C-43B2-A218-475B4FDEDCC6}" dt="2020-05-22T08:00:43.319" v="379" actId="14100"/>
          <ac:cxnSpMkLst>
            <pc:docMk/>
            <pc:sldMk cId="4231764735" sldId="1423"/>
            <ac:cxnSpMk id="20" creationId="{00000000-0000-0000-0000-000000000000}"/>
          </ac:cxnSpMkLst>
        </pc:cxnChg>
        <pc:cxnChg chg="mod">
          <ac:chgData name="Batuhan Yildiz" userId="90f344fc-4655-4923-aeaf-697bba59c1a7" providerId="ADAL" clId="{C4D54E99-673C-43B2-A218-475B4FDEDCC6}" dt="2020-05-22T08:00:43.319" v="379" actId="14100"/>
          <ac:cxnSpMkLst>
            <pc:docMk/>
            <pc:sldMk cId="4231764735" sldId="1423"/>
            <ac:cxnSpMk id="34" creationId="{00000000-0000-0000-0000-000000000000}"/>
          </ac:cxnSpMkLst>
        </pc:cxnChg>
        <pc:cxnChg chg="mod">
          <ac:chgData name="Batuhan Yildiz" userId="90f344fc-4655-4923-aeaf-697bba59c1a7" providerId="ADAL" clId="{C4D54E99-673C-43B2-A218-475B4FDEDCC6}" dt="2020-05-22T08:00:43.319" v="379" actId="14100"/>
          <ac:cxnSpMkLst>
            <pc:docMk/>
            <pc:sldMk cId="4231764735" sldId="1423"/>
            <ac:cxnSpMk id="35" creationId="{00000000-0000-0000-0000-000000000000}"/>
          </ac:cxnSpMkLst>
        </pc:cxnChg>
        <pc:cxnChg chg="mod">
          <ac:chgData name="Batuhan Yildiz" userId="90f344fc-4655-4923-aeaf-697bba59c1a7" providerId="ADAL" clId="{C4D54E99-673C-43B2-A218-475B4FDEDCC6}" dt="2020-05-22T08:00:43.319" v="379" actId="14100"/>
          <ac:cxnSpMkLst>
            <pc:docMk/>
            <pc:sldMk cId="4231764735" sldId="1423"/>
            <ac:cxnSpMk id="36" creationId="{00000000-0000-0000-0000-000000000000}"/>
          </ac:cxnSpMkLst>
        </pc:cxnChg>
        <pc:cxnChg chg="mod">
          <ac:chgData name="Batuhan Yildiz" userId="90f344fc-4655-4923-aeaf-697bba59c1a7" providerId="ADAL" clId="{C4D54E99-673C-43B2-A218-475B4FDEDCC6}" dt="2020-05-22T08:00:43.319" v="379" actId="14100"/>
          <ac:cxnSpMkLst>
            <pc:docMk/>
            <pc:sldMk cId="4231764735" sldId="1423"/>
            <ac:cxnSpMk id="37" creationId="{00000000-0000-0000-0000-000000000000}"/>
          </ac:cxnSpMkLst>
        </pc:cxnChg>
      </pc:sldChg>
      <pc:sldChg chg="modSp mod modClrScheme chgLayout">
        <pc:chgData name="Batuhan Yildiz" userId="90f344fc-4655-4923-aeaf-697bba59c1a7" providerId="ADAL" clId="{C4D54E99-673C-43B2-A218-475B4FDEDCC6}" dt="2020-05-22T08:02:19.147" v="388" actId="5793"/>
        <pc:sldMkLst>
          <pc:docMk/>
          <pc:sldMk cId="4030353435" sldId="1424"/>
        </pc:sldMkLst>
        <pc:spChg chg="mod ord">
          <ac:chgData name="Batuhan Yildiz" userId="90f344fc-4655-4923-aeaf-697bba59c1a7" providerId="ADAL" clId="{C4D54E99-673C-43B2-A218-475B4FDEDCC6}" dt="2020-05-22T08:01:30.650" v="385" actId="700"/>
          <ac:spMkLst>
            <pc:docMk/>
            <pc:sldMk cId="4030353435" sldId="1424"/>
            <ac:spMk id="2" creationId="{00000000-0000-0000-0000-000000000000}"/>
          </ac:spMkLst>
        </pc:spChg>
        <pc:spChg chg="mod">
          <ac:chgData name="Batuhan Yildiz" userId="90f344fc-4655-4923-aeaf-697bba59c1a7" providerId="ADAL" clId="{C4D54E99-673C-43B2-A218-475B4FDEDCC6}" dt="2020-05-22T08:01:46.196" v="386" actId="1076"/>
          <ac:spMkLst>
            <pc:docMk/>
            <pc:sldMk cId="4030353435" sldId="1424"/>
            <ac:spMk id="17" creationId="{00000000-0000-0000-0000-000000000000}"/>
          </ac:spMkLst>
        </pc:spChg>
        <pc:spChg chg="mod ord">
          <ac:chgData name="Batuhan Yildiz" userId="90f344fc-4655-4923-aeaf-697bba59c1a7" providerId="ADAL" clId="{C4D54E99-673C-43B2-A218-475B4FDEDCC6}" dt="2020-05-22T08:02:19.147" v="388" actId="5793"/>
          <ac:spMkLst>
            <pc:docMk/>
            <pc:sldMk cId="4030353435" sldId="1424"/>
            <ac:spMk id="18" creationId="{00000000-0000-0000-0000-000000000000}"/>
          </ac:spMkLst>
        </pc:spChg>
        <pc:spChg chg="mod">
          <ac:chgData name="Batuhan Yildiz" userId="90f344fc-4655-4923-aeaf-697bba59c1a7" providerId="ADAL" clId="{C4D54E99-673C-43B2-A218-475B4FDEDCC6}" dt="2020-05-22T08:01:46.196" v="386" actId="1076"/>
          <ac:spMkLst>
            <pc:docMk/>
            <pc:sldMk cId="4030353435" sldId="1424"/>
            <ac:spMk id="21" creationId="{00000000-0000-0000-0000-000000000000}"/>
          </ac:spMkLst>
        </pc:spChg>
        <pc:picChg chg="mod">
          <ac:chgData name="Batuhan Yildiz" userId="90f344fc-4655-4923-aeaf-697bba59c1a7" providerId="ADAL" clId="{C4D54E99-673C-43B2-A218-475B4FDEDCC6}" dt="2020-05-22T08:01:46.196" v="386" actId="1076"/>
          <ac:picMkLst>
            <pc:docMk/>
            <pc:sldMk cId="4030353435" sldId="1424"/>
            <ac:picMk id="6"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7"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9"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0"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1"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2"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3"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4"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5"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6"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19" creationId="{00000000-0000-0000-0000-000000000000}"/>
          </ac:picMkLst>
        </pc:picChg>
        <pc:picChg chg="mod">
          <ac:chgData name="Batuhan Yildiz" userId="90f344fc-4655-4923-aeaf-697bba59c1a7" providerId="ADAL" clId="{C4D54E99-673C-43B2-A218-475B4FDEDCC6}" dt="2020-05-22T08:01:46.196" v="386" actId="1076"/>
          <ac:picMkLst>
            <pc:docMk/>
            <pc:sldMk cId="4030353435" sldId="1424"/>
            <ac:picMk id="20" creationId="{00000000-0000-0000-0000-000000000000}"/>
          </ac:picMkLst>
        </pc:picChg>
      </pc:sldChg>
      <pc:sldChg chg="modSp">
        <pc:chgData name="Batuhan Yildiz" userId="90f344fc-4655-4923-aeaf-697bba59c1a7" providerId="ADAL" clId="{C4D54E99-673C-43B2-A218-475B4FDEDCC6}" dt="2020-05-22T08:02:47.254" v="389" actId="12100"/>
        <pc:sldMkLst>
          <pc:docMk/>
          <pc:sldMk cId="1674344459" sldId="1467"/>
        </pc:sldMkLst>
        <pc:graphicFrameChg chg="mod">
          <ac:chgData name="Batuhan Yildiz" userId="90f344fc-4655-4923-aeaf-697bba59c1a7" providerId="ADAL" clId="{C4D54E99-673C-43B2-A218-475B4FDEDCC6}" dt="2020-05-22T08:02:47.254" v="389" actId="12100"/>
          <ac:graphicFrameMkLst>
            <pc:docMk/>
            <pc:sldMk cId="1674344459" sldId="1467"/>
            <ac:graphicFrameMk id="7" creationId="{7CF0440A-AB0B-4B21-A641-603244ADB1B5}"/>
          </ac:graphicFrameMkLst>
        </pc:graphicFrameChg>
      </pc:sldChg>
      <pc:sldChg chg="modSp mod">
        <pc:chgData name="Batuhan Yildiz" userId="90f344fc-4655-4923-aeaf-697bba59c1a7" providerId="ADAL" clId="{C4D54E99-673C-43B2-A218-475B4FDEDCC6}" dt="2020-05-22T08:07:19.566" v="408" actId="14100"/>
        <pc:sldMkLst>
          <pc:docMk/>
          <pc:sldMk cId="572847463" sldId="1469"/>
        </pc:sldMkLst>
        <pc:spChg chg="mod">
          <ac:chgData name="Batuhan Yildiz" userId="90f344fc-4655-4923-aeaf-697bba59c1a7" providerId="ADAL" clId="{C4D54E99-673C-43B2-A218-475B4FDEDCC6}" dt="2020-05-22T08:06:48.105" v="404" actId="14100"/>
          <ac:spMkLst>
            <pc:docMk/>
            <pc:sldMk cId="572847463" sldId="1469"/>
            <ac:spMk id="2" creationId="{00000000-0000-0000-0000-000000000000}"/>
          </ac:spMkLst>
        </pc:spChg>
        <pc:spChg chg="mod">
          <ac:chgData name="Batuhan Yildiz" userId="90f344fc-4655-4923-aeaf-697bba59c1a7" providerId="ADAL" clId="{C4D54E99-673C-43B2-A218-475B4FDEDCC6}" dt="2020-05-22T08:06:57.667" v="405" actId="14100"/>
          <ac:spMkLst>
            <pc:docMk/>
            <pc:sldMk cId="572847463" sldId="1469"/>
            <ac:spMk id="214" creationId="{00000000-0000-0000-0000-000000000000}"/>
          </ac:spMkLst>
        </pc:spChg>
        <pc:spChg chg="mod">
          <ac:chgData name="Batuhan Yildiz" userId="90f344fc-4655-4923-aeaf-697bba59c1a7" providerId="ADAL" clId="{C4D54E99-673C-43B2-A218-475B4FDEDCC6}" dt="2020-05-22T08:07:19.566" v="408" actId="14100"/>
          <ac:spMkLst>
            <pc:docMk/>
            <pc:sldMk cId="572847463" sldId="1469"/>
            <ac:spMk id="215" creationId="{00000000-0000-0000-0000-000000000000}"/>
          </ac:spMkLst>
        </pc:spChg>
      </pc:sldChg>
      <pc:sldChg chg="modSp">
        <pc:chgData name="Batuhan Yildiz" userId="90f344fc-4655-4923-aeaf-697bba59c1a7" providerId="ADAL" clId="{C4D54E99-673C-43B2-A218-475B4FDEDCC6}" dt="2020-05-22T07:51:35.739" v="282" actId="12100"/>
        <pc:sldMkLst>
          <pc:docMk/>
          <pc:sldMk cId="1643241759" sldId="1477"/>
        </pc:sldMkLst>
        <pc:graphicFrameChg chg="mod">
          <ac:chgData name="Batuhan Yildiz" userId="90f344fc-4655-4923-aeaf-697bba59c1a7" providerId="ADAL" clId="{C4D54E99-673C-43B2-A218-475B4FDEDCC6}" dt="2020-05-22T07:51:35.739" v="282" actId="12100"/>
          <ac:graphicFrameMkLst>
            <pc:docMk/>
            <pc:sldMk cId="1643241759" sldId="1477"/>
            <ac:graphicFrameMk id="2" creationId="{10BEAA2F-975D-43B8-A3ED-21D46931B276}"/>
          </ac:graphicFrameMkLst>
        </pc:graphicFrameChg>
      </pc:sldChg>
      <pc:sldChg chg="modSp">
        <pc:chgData name="Batuhan Yildiz" userId="90f344fc-4655-4923-aeaf-697bba59c1a7" providerId="ADAL" clId="{C4D54E99-673C-43B2-A218-475B4FDEDCC6}" dt="2020-05-22T08:03:08.531" v="390" actId="12100"/>
        <pc:sldMkLst>
          <pc:docMk/>
          <pc:sldMk cId="254203051" sldId="1478"/>
        </pc:sldMkLst>
        <pc:graphicFrameChg chg="mod">
          <ac:chgData name="Batuhan Yildiz" userId="90f344fc-4655-4923-aeaf-697bba59c1a7" providerId="ADAL" clId="{C4D54E99-673C-43B2-A218-475B4FDEDCC6}" dt="2020-05-22T08:03:08.531" v="390" actId="12100"/>
          <ac:graphicFrameMkLst>
            <pc:docMk/>
            <pc:sldMk cId="254203051" sldId="1478"/>
            <ac:graphicFrameMk id="2" creationId="{35B293EA-D7C7-4D4A-9462-7000FA3ABFA8}"/>
          </ac:graphicFrameMkLst>
        </pc:graphicFrameChg>
      </pc:sldChg>
      <pc:sldChg chg="delSp modSp mod">
        <pc:chgData name="Batuhan Yildiz" userId="90f344fc-4655-4923-aeaf-697bba59c1a7" providerId="ADAL" clId="{C4D54E99-673C-43B2-A218-475B4FDEDCC6}" dt="2020-05-22T08:08:05.893" v="410" actId="12100"/>
        <pc:sldMkLst>
          <pc:docMk/>
          <pc:sldMk cId="107517723" sldId="1479"/>
        </pc:sldMkLst>
        <pc:spChg chg="del">
          <ac:chgData name="Batuhan Yildiz" userId="90f344fc-4655-4923-aeaf-697bba59c1a7" providerId="ADAL" clId="{C4D54E99-673C-43B2-A218-475B4FDEDCC6}" dt="2020-05-22T08:07:57.465" v="409" actId="478"/>
          <ac:spMkLst>
            <pc:docMk/>
            <pc:sldMk cId="107517723" sldId="1479"/>
            <ac:spMk id="72" creationId="{C6D2AA96-DAE3-40A7-998A-F09B8BADA559}"/>
          </ac:spMkLst>
        </pc:spChg>
        <pc:graphicFrameChg chg="mod">
          <ac:chgData name="Batuhan Yildiz" userId="90f344fc-4655-4923-aeaf-697bba59c1a7" providerId="ADAL" clId="{C4D54E99-673C-43B2-A218-475B4FDEDCC6}" dt="2020-05-22T08:08:05.893" v="410" actId="12100"/>
          <ac:graphicFrameMkLst>
            <pc:docMk/>
            <pc:sldMk cId="107517723" sldId="1479"/>
            <ac:graphicFrameMk id="7" creationId="{ABD57352-C2AF-419B-B8C3-FCD9744EE404}"/>
          </ac:graphicFrameMkLst>
        </pc:graphicFrameChg>
      </pc:sldChg>
      <pc:sldChg chg="modSp mod modClrScheme chgLayout">
        <pc:chgData name="Batuhan Yildiz" userId="90f344fc-4655-4923-aeaf-697bba59c1a7" providerId="ADAL" clId="{C4D54E99-673C-43B2-A218-475B4FDEDCC6}" dt="2020-05-22T08:30:15.360" v="515"/>
        <pc:sldMkLst>
          <pc:docMk/>
          <pc:sldMk cId="1716151462" sldId="1480"/>
        </pc:sldMkLst>
        <pc:spChg chg="mod ord">
          <ac:chgData name="Batuhan Yildiz" userId="90f344fc-4655-4923-aeaf-697bba59c1a7" providerId="ADAL" clId="{C4D54E99-673C-43B2-A218-475B4FDEDCC6}" dt="2020-05-22T08:30:08.560" v="514" actId="700"/>
          <ac:spMkLst>
            <pc:docMk/>
            <pc:sldMk cId="1716151462" sldId="1480"/>
            <ac:spMk id="2" creationId="{EB67312A-9819-43C6-8D84-D9136E6CFFCC}"/>
          </ac:spMkLst>
        </pc:spChg>
        <pc:spChg chg="mod ord">
          <ac:chgData name="Batuhan Yildiz" userId="90f344fc-4655-4923-aeaf-697bba59c1a7" providerId="ADAL" clId="{C4D54E99-673C-43B2-A218-475B4FDEDCC6}" dt="2020-05-22T08:30:08.560" v="514" actId="700"/>
          <ac:spMkLst>
            <pc:docMk/>
            <pc:sldMk cId="1716151462" sldId="1480"/>
            <ac:spMk id="3" creationId="{F35E8CBB-5A7D-4DEF-BAF7-8DD5D042F9E0}"/>
          </ac:spMkLst>
        </pc:spChg>
        <pc:spChg chg="mod ord">
          <ac:chgData name="Batuhan Yildiz" userId="90f344fc-4655-4923-aeaf-697bba59c1a7" providerId="ADAL" clId="{C4D54E99-673C-43B2-A218-475B4FDEDCC6}" dt="2020-05-22T08:30:15.360" v="515"/>
          <ac:spMkLst>
            <pc:docMk/>
            <pc:sldMk cId="1716151462" sldId="1480"/>
            <ac:spMk id="4" creationId="{F3616A99-090F-45E1-9334-58D58B148205}"/>
          </ac:spMkLst>
        </pc:spChg>
      </pc:sldChg>
      <pc:sldChg chg="modSp">
        <pc:chgData name="Batuhan Yildiz" userId="90f344fc-4655-4923-aeaf-697bba59c1a7" providerId="ADAL" clId="{C4D54E99-673C-43B2-A218-475B4FDEDCC6}" dt="2020-05-22T08:24:38.355" v="488" actId="255"/>
        <pc:sldMkLst>
          <pc:docMk/>
          <pc:sldMk cId="565001887" sldId="1481"/>
        </pc:sldMkLst>
        <pc:graphicFrameChg chg="mod">
          <ac:chgData name="Batuhan Yildiz" userId="90f344fc-4655-4923-aeaf-697bba59c1a7" providerId="ADAL" clId="{C4D54E99-673C-43B2-A218-475B4FDEDCC6}" dt="2020-05-22T08:24:38.355" v="488" actId="255"/>
          <ac:graphicFrameMkLst>
            <pc:docMk/>
            <pc:sldMk cId="565001887" sldId="1481"/>
            <ac:graphicFrameMk id="5" creationId="{7D108DBB-E906-4DC1-A452-84D184316AB6}"/>
          </ac:graphicFrameMkLst>
        </pc:graphicFrameChg>
      </pc:sldChg>
      <pc:sldChg chg="modSp mod">
        <pc:chgData name="Batuhan Yildiz" userId="90f344fc-4655-4923-aeaf-697bba59c1a7" providerId="ADAL" clId="{C4D54E99-673C-43B2-A218-475B4FDEDCC6}" dt="2020-05-22T08:28:47.373" v="509" actId="27636"/>
        <pc:sldMkLst>
          <pc:docMk/>
          <pc:sldMk cId="179543186" sldId="1482"/>
        </pc:sldMkLst>
        <pc:spChg chg="mod">
          <ac:chgData name="Batuhan Yildiz" userId="90f344fc-4655-4923-aeaf-697bba59c1a7" providerId="ADAL" clId="{C4D54E99-673C-43B2-A218-475B4FDEDCC6}" dt="2020-05-22T08:28:47.373" v="509" actId="27636"/>
          <ac:spMkLst>
            <pc:docMk/>
            <pc:sldMk cId="179543186" sldId="1482"/>
            <ac:spMk id="12" creationId="{937A596A-4DB9-41DC-A815-80CF009972D6}"/>
          </ac:spMkLst>
        </pc:spChg>
      </pc:sldChg>
      <pc:sldChg chg="addSp delSp modSp mod">
        <pc:chgData name="Batuhan Yildiz" userId="90f344fc-4655-4923-aeaf-697bba59c1a7" providerId="ADAL" clId="{C4D54E99-673C-43B2-A218-475B4FDEDCC6}" dt="2020-05-22T08:32:20.516" v="529" actId="14100"/>
        <pc:sldMkLst>
          <pc:docMk/>
          <pc:sldMk cId="3951487755" sldId="1485"/>
        </pc:sldMkLst>
        <pc:spChg chg="del">
          <ac:chgData name="Batuhan Yildiz" userId="90f344fc-4655-4923-aeaf-697bba59c1a7" providerId="ADAL" clId="{C4D54E99-673C-43B2-A218-475B4FDEDCC6}" dt="2020-05-22T08:31:26.869" v="520" actId="478"/>
          <ac:spMkLst>
            <pc:docMk/>
            <pc:sldMk cId="3951487755" sldId="1485"/>
            <ac:spMk id="3" creationId="{F35E8CBB-5A7D-4DEF-BAF7-8DD5D042F9E0}"/>
          </ac:spMkLst>
        </pc:spChg>
        <pc:spChg chg="add mod">
          <ac:chgData name="Batuhan Yildiz" userId="90f344fc-4655-4923-aeaf-697bba59c1a7" providerId="ADAL" clId="{C4D54E99-673C-43B2-A218-475B4FDEDCC6}" dt="2020-05-22T08:31:30.467" v="521"/>
          <ac:spMkLst>
            <pc:docMk/>
            <pc:sldMk cId="3951487755" sldId="1485"/>
            <ac:spMk id="5" creationId="{261BB711-0337-4425-BB59-E5EECED897CF}"/>
          </ac:spMkLst>
        </pc:spChg>
        <pc:picChg chg="mod">
          <ac:chgData name="Batuhan Yildiz" userId="90f344fc-4655-4923-aeaf-697bba59c1a7" providerId="ADAL" clId="{C4D54E99-673C-43B2-A218-475B4FDEDCC6}" dt="2020-05-22T08:32:20.516" v="529" actId="14100"/>
          <ac:picMkLst>
            <pc:docMk/>
            <pc:sldMk cId="3951487755" sldId="1485"/>
            <ac:picMk id="8" creationId="{3158FC52-D673-43CA-86CE-208CAC593995}"/>
          </ac:picMkLst>
        </pc:picChg>
      </pc:sldChg>
      <pc:sldChg chg="delSp modSp mod">
        <pc:chgData name="Batuhan Yildiz" userId="90f344fc-4655-4923-aeaf-697bba59c1a7" providerId="ADAL" clId="{C4D54E99-673C-43B2-A218-475B4FDEDCC6}" dt="2020-05-22T08:33:52.863" v="535" actId="478"/>
        <pc:sldMkLst>
          <pc:docMk/>
          <pc:sldMk cId="2984945502" sldId="1487"/>
        </pc:sldMkLst>
        <pc:spChg chg="del">
          <ac:chgData name="Batuhan Yildiz" userId="90f344fc-4655-4923-aeaf-697bba59c1a7" providerId="ADAL" clId="{C4D54E99-673C-43B2-A218-475B4FDEDCC6}" dt="2020-05-22T08:33:52.863" v="535" actId="478"/>
          <ac:spMkLst>
            <pc:docMk/>
            <pc:sldMk cId="2984945502" sldId="1487"/>
            <ac:spMk id="3" creationId="{F35E8CBB-5A7D-4DEF-BAF7-8DD5D042F9E0}"/>
          </ac:spMkLst>
        </pc:spChg>
        <pc:graphicFrameChg chg="mod">
          <ac:chgData name="Batuhan Yildiz" userId="90f344fc-4655-4923-aeaf-697bba59c1a7" providerId="ADAL" clId="{C4D54E99-673C-43B2-A218-475B4FDEDCC6}" dt="2020-05-22T08:32:55.412" v="531" actId="12269"/>
          <ac:graphicFrameMkLst>
            <pc:docMk/>
            <pc:sldMk cId="2984945502" sldId="1487"/>
            <ac:graphicFrameMk id="6" creationId="{8E394C2A-1356-4FF1-B4AC-C37B3D8D3A89}"/>
          </ac:graphicFrameMkLst>
        </pc:graphicFrameChg>
      </pc:sldChg>
      <pc:sldChg chg="modSp mod">
        <pc:chgData name="Batuhan Yildiz" userId="90f344fc-4655-4923-aeaf-697bba59c1a7" providerId="ADAL" clId="{C4D54E99-673C-43B2-A218-475B4FDEDCC6}" dt="2020-05-22T08:34:04.834" v="537" actId="1076"/>
        <pc:sldMkLst>
          <pc:docMk/>
          <pc:sldMk cId="1346224666" sldId="1488"/>
        </pc:sldMkLst>
        <pc:graphicFrameChg chg="mod modGraphic">
          <ac:chgData name="Batuhan Yildiz" userId="90f344fc-4655-4923-aeaf-697bba59c1a7" providerId="ADAL" clId="{C4D54E99-673C-43B2-A218-475B4FDEDCC6}" dt="2020-05-22T08:34:04.834" v="537" actId="1076"/>
          <ac:graphicFrameMkLst>
            <pc:docMk/>
            <pc:sldMk cId="1346224666" sldId="1488"/>
            <ac:graphicFrameMk id="7" creationId="{0209C660-8EB9-40EC-A494-C81B64DB7263}"/>
          </ac:graphicFrameMkLst>
        </pc:graphicFrameChg>
      </pc:sldChg>
      <pc:sldChg chg="modSp">
        <pc:chgData name="Batuhan Yildiz" userId="90f344fc-4655-4923-aeaf-697bba59c1a7" providerId="ADAL" clId="{C4D54E99-673C-43B2-A218-475B4FDEDCC6}" dt="2020-05-22T08:34:32.385" v="538" actId="12100"/>
        <pc:sldMkLst>
          <pc:docMk/>
          <pc:sldMk cId="2854760315" sldId="1489"/>
        </pc:sldMkLst>
        <pc:graphicFrameChg chg="mod">
          <ac:chgData name="Batuhan Yildiz" userId="90f344fc-4655-4923-aeaf-697bba59c1a7" providerId="ADAL" clId="{C4D54E99-673C-43B2-A218-475B4FDEDCC6}" dt="2020-05-22T08:34:32.385" v="538" actId="12100"/>
          <ac:graphicFrameMkLst>
            <pc:docMk/>
            <pc:sldMk cId="2854760315" sldId="1489"/>
            <ac:graphicFrameMk id="4" creationId="{8E6A15FB-C436-4785-ACB8-B812481A9D36}"/>
          </ac:graphicFrameMkLst>
        </pc:graphicFrameChg>
      </pc:sldChg>
      <pc:sldChg chg="modSp">
        <pc:chgData name="Batuhan Yildiz" userId="90f344fc-4655-4923-aeaf-697bba59c1a7" providerId="ADAL" clId="{C4D54E99-673C-43B2-A218-475B4FDEDCC6}" dt="2020-05-22T08:15:11.661" v="456" actId="12100"/>
        <pc:sldMkLst>
          <pc:docMk/>
          <pc:sldMk cId="2378945749" sldId="1491"/>
        </pc:sldMkLst>
        <pc:graphicFrameChg chg="mod">
          <ac:chgData name="Batuhan Yildiz" userId="90f344fc-4655-4923-aeaf-697bba59c1a7" providerId="ADAL" clId="{C4D54E99-673C-43B2-A218-475B4FDEDCC6}" dt="2020-05-22T08:15:11.661" v="456" actId="12100"/>
          <ac:graphicFrameMkLst>
            <pc:docMk/>
            <pc:sldMk cId="2378945749" sldId="1491"/>
            <ac:graphicFrameMk id="4" creationId="{8E6A15FB-C436-4785-ACB8-B812481A9D36}"/>
          </ac:graphicFrameMkLst>
        </pc:graphicFrameChg>
      </pc:sldChg>
      <pc:sldChg chg="modSp">
        <pc:chgData name="Batuhan Yildiz" userId="90f344fc-4655-4923-aeaf-697bba59c1a7" providerId="ADAL" clId="{C4D54E99-673C-43B2-A218-475B4FDEDCC6}" dt="2020-05-22T08:35:22.684" v="539" actId="12100"/>
        <pc:sldMkLst>
          <pc:docMk/>
          <pc:sldMk cId="116317705" sldId="1492"/>
        </pc:sldMkLst>
        <pc:graphicFrameChg chg="mod">
          <ac:chgData name="Batuhan Yildiz" userId="90f344fc-4655-4923-aeaf-697bba59c1a7" providerId="ADAL" clId="{C4D54E99-673C-43B2-A218-475B4FDEDCC6}" dt="2020-05-22T08:35:22.684" v="539" actId="12100"/>
          <ac:graphicFrameMkLst>
            <pc:docMk/>
            <pc:sldMk cId="116317705" sldId="1492"/>
            <ac:graphicFrameMk id="9" creationId="{F7CC1D9E-88F5-456E-993A-578CEA5E3534}"/>
          </ac:graphicFrameMkLst>
        </pc:graphicFrameChg>
      </pc:sldChg>
      <pc:sldChg chg="delSp modSp mod">
        <pc:chgData name="Batuhan Yildiz" userId="90f344fc-4655-4923-aeaf-697bba59c1a7" providerId="ADAL" clId="{C4D54E99-673C-43B2-A218-475B4FDEDCC6}" dt="2020-05-22T08:16:56.778" v="465" actId="12100"/>
        <pc:sldMkLst>
          <pc:docMk/>
          <pc:sldMk cId="161408009" sldId="1493"/>
        </pc:sldMkLst>
        <pc:spChg chg="del">
          <ac:chgData name="Batuhan Yildiz" userId="90f344fc-4655-4923-aeaf-697bba59c1a7" providerId="ADAL" clId="{C4D54E99-673C-43B2-A218-475B4FDEDCC6}" dt="2020-05-22T08:16:13.796" v="458" actId="478"/>
          <ac:spMkLst>
            <pc:docMk/>
            <pc:sldMk cId="161408009" sldId="1493"/>
            <ac:spMk id="3" creationId="{F35E8CBB-5A7D-4DEF-BAF7-8DD5D042F9E0}"/>
          </ac:spMkLst>
        </pc:spChg>
        <pc:graphicFrameChg chg="mod">
          <ac:chgData name="Batuhan Yildiz" userId="90f344fc-4655-4923-aeaf-697bba59c1a7" providerId="ADAL" clId="{C4D54E99-673C-43B2-A218-475B4FDEDCC6}" dt="2020-05-22T08:16:56.778" v="465" actId="12100"/>
          <ac:graphicFrameMkLst>
            <pc:docMk/>
            <pc:sldMk cId="161408009" sldId="1493"/>
            <ac:graphicFrameMk id="6" creationId="{ECD4F830-3F57-4416-97C9-3E857291381E}"/>
          </ac:graphicFrameMkLst>
        </pc:graphicFrameChg>
      </pc:sldChg>
      <pc:sldChg chg="modSp">
        <pc:chgData name="Batuhan Yildiz" userId="90f344fc-4655-4923-aeaf-697bba59c1a7" providerId="ADAL" clId="{C4D54E99-673C-43B2-A218-475B4FDEDCC6}" dt="2020-05-22T08:16:06.396" v="457" actId="12100"/>
        <pc:sldMkLst>
          <pc:docMk/>
          <pc:sldMk cId="594598944" sldId="1494"/>
        </pc:sldMkLst>
        <pc:graphicFrameChg chg="mod">
          <ac:chgData name="Batuhan Yildiz" userId="90f344fc-4655-4923-aeaf-697bba59c1a7" providerId="ADAL" clId="{C4D54E99-673C-43B2-A218-475B4FDEDCC6}" dt="2020-05-22T08:16:06.396" v="457" actId="12100"/>
          <ac:graphicFrameMkLst>
            <pc:docMk/>
            <pc:sldMk cId="594598944" sldId="1494"/>
            <ac:graphicFrameMk id="6" creationId="{ECD4F830-3F57-4416-97C9-3E857291381E}"/>
          </ac:graphicFrameMkLst>
        </pc:graphicFrameChg>
      </pc:sldChg>
      <pc:sldChg chg="addSp delSp modSp new del mod modClrScheme chgLayout">
        <pc:chgData name="Batuhan Yildiz" userId="90f344fc-4655-4923-aeaf-697bba59c1a7" providerId="ADAL" clId="{C4D54E99-673C-43B2-A218-475B4FDEDCC6}" dt="2020-05-22T07:32:45.856" v="39" actId="47"/>
        <pc:sldMkLst>
          <pc:docMk/>
          <pc:sldMk cId="1000674253" sldId="1499"/>
        </pc:sldMkLst>
        <pc:spChg chg="del mod ord">
          <ac:chgData name="Batuhan Yildiz" userId="90f344fc-4655-4923-aeaf-697bba59c1a7" providerId="ADAL" clId="{C4D54E99-673C-43B2-A218-475B4FDEDCC6}" dt="2020-05-22T07:32:41.697" v="38" actId="700"/>
          <ac:spMkLst>
            <pc:docMk/>
            <pc:sldMk cId="1000674253" sldId="1499"/>
            <ac:spMk id="2" creationId="{828BF494-ADF3-44AD-8EFA-FF982D4535E3}"/>
          </ac:spMkLst>
        </pc:spChg>
        <pc:spChg chg="del mod ord">
          <ac:chgData name="Batuhan Yildiz" userId="90f344fc-4655-4923-aeaf-697bba59c1a7" providerId="ADAL" clId="{C4D54E99-673C-43B2-A218-475B4FDEDCC6}" dt="2020-05-22T07:32:41.697" v="38" actId="700"/>
          <ac:spMkLst>
            <pc:docMk/>
            <pc:sldMk cId="1000674253" sldId="1499"/>
            <ac:spMk id="3" creationId="{640DB7DF-08A3-46F9-94BD-94ABC571BE21}"/>
          </ac:spMkLst>
        </pc:spChg>
        <pc:spChg chg="del mod ord">
          <ac:chgData name="Batuhan Yildiz" userId="90f344fc-4655-4923-aeaf-697bba59c1a7" providerId="ADAL" clId="{C4D54E99-673C-43B2-A218-475B4FDEDCC6}" dt="2020-05-22T07:32:41.697" v="38" actId="700"/>
          <ac:spMkLst>
            <pc:docMk/>
            <pc:sldMk cId="1000674253" sldId="1499"/>
            <ac:spMk id="4" creationId="{4AFBFDF4-735D-44E5-9935-2319375EEE3F}"/>
          </ac:spMkLst>
        </pc:spChg>
        <pc:spChg chg="add mod ord">
          <ac:chgData name="Batuhan Yildiz" userId="90f344fc-4655-4923-aeaf-697bba59c1a7" providerId="ADAL" clId="{C4D54E99-673C-43B2-A218-475B4FDEDCC6}" dt="2020-05-22T07:32:41.697" v="38" actId="700"/>
          <ac:spMkLst>
            <pc:docMk/>
            <pc:sldMk cId="1000674253" sldId="1499"/>
            <ac:spMk id="5" creationId="{442221DE-DDB2-4E55-B2B7-9E677740FB05}"/>
          </ac:spMkLst>
        </pc:spChg>
        <pc:spChg chg="add mod ord">
          <ac:chgData name="Batuhan Yildiz" userId="90f344fc-4655-4923-aeaf-697bba59c1a7" providerId="ADAL" clId="{C4D54E99-673C-43B2-A218-475B4FDEDCC6}" dt="2020-05-22T07:32:41.697" v="38" actId="700"/>
          <ac:spMkLst>
            <pc:docMk/>
            <pc:sldMk cId="1000674253" sldId="1499"/>
            <ac:spMk id="6" creationId="{DF825345-1936-459C-BE50-6ED80F0CF3FC}"/>
          </ac:spMkLst>
        </pc:spChg>
        <pc:spChg chg="add mod ord">
          <ac:chgData name="Batuhan Yildiz" userId="90f344fc-4655-4923-aeaf-697bba59c1a7" providerId="ADAL" clId="{C4D54E99-673C-43B2-A218-475B4FDEDCC6}" dt="2020-05-22T07:32:41.697" v="38" actId="700"/>
          <ac:spMkLst>
            <pc:docMk/>
            <pc:sldMk cId="1000674253" sldId="1499"/>
            <ac:spMk id="7" creationId="{E4E53968-0295-4ABF-8FB3-40D7BA7A172D}"/>
          </ac:spMkLst>
        </pc:spChg>
        <pc:spChg chg="add mod ord">
          <ac:chgData name="Batuhan Yildiz" userId="90f344fc-4655-4923-aeaf-697bba59c1a7" providerId="ADAL" clId="{C4D54E99-673C-43B2-A218-475B4FDEDCC6}" dt="2020-05-22T07:32:41.697" v="38" actId="700"/>
          <ac:spMkLst>
            <pc:docMk/>
            <pc:sldMk cId="1000674253" sldId="1499"/>
            <ac:spMk id="8" creationId="{2761BA14-CC7F-4910-8F1A-331DBD10641B}"/>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9D6387-6075-4E90-8E26-3AAA0EE7CFD2}"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41556ACD-E1A5-4B29-9504-D8AEB7027567}">
      <dgm:prSet/>
      <dgm:spPr/>
      <dgm:t>
        <a:bodyPr/>
        <a:lstStyle/>
        <a:p>
          <a:r>
            <a:rPr lang="en-US" b="0" i="0" dirty="0"/>
            <a:t>An index is an on-disk structure associated with a table that speeds retrieval of rows.</a:t>
          </a:r>
          <a:endParaRPr lang="en-US" dirty="0"/>
        </a:p>
      </dgm:t>
    </dgm:pt>
    <dgm:pt modelId="{1D7A3BE8-E80B-4BE2-A87A-BEAFA31A6DD0}" type="parTrans" cxnId="{9D3FDC87-EE97-4CFE-A8BD-CF40E172EE28}">
      <dgm:prSet/>
      <dgm:spPr/>
      <dgm:t>
        <a:bodyPr/>
        <a:lstStyle/>
        <a:p>
          <a:endParaRPr lang="en-US"/>
        </a:p>
      </dgm:t>
    </dgm:pt>
    <dgm:pt modelId="{443507A1-71ED-4468-9819-0A0F5E022450}" type="sibTrans" cxnId="{9D3FDC87-EE97-4CFE-A8BD-CF40E172EE28}">
      <dgm:prSet/>
      <dgm:spPr/>
      <dgm:t>
        <a:bodyPr/>
        <a:lstStyle/>
        <a:p>
          <a:endParaRPr lang="en-US"/>
        </a:p>
      </dgm:t>
    </dgm:pt>
    <dgm:pt modelId="{C1D0D6FB-FF27-40EF-BFAB-B5FA937AF5DE}">
      <dgm:prSet/>
      <dgm:spPr/>
      <dgm:t>
        <a:bodyPr/>
        <a:lstStyle/>
        <a:p>
          <a:r>
            <a:rPr lang="en-US" b="0" i="0" dirty="0"/>
            <a:t>An index contains keys built from one or more columns in the table.</a:t>
          </a:r>
          <a:endParaRPr lang="en-US" dirty="0"/>
        </a:p>
      </dgm:t>
    </dgm:pt>
    <dgm:pt modelId="{5BD9F90A-FB0B-4EB0-85D6-692EC71BD725}" type="parTrans" cxnId="{B5AB6F17-40F0-44E0-BE02-7D84ADD42834}">
      <dgm:prSet/>
      <dgm:spPr/>
      <dgm:t>
        <a:bodyPr/>
        <a:lstStyle/>
        <a:p>
          <a:endParaRPr lang="en-US"/>
        </a:p>
      </dgm:t>
    </dgm:pt>
    <dgm:pt modelId="{9B7210CF-49AF-4DFC-9133-87F598F4A2F0}" type="sibTrans" cxnId="{B5AB6F17-40F0-44E0-BE02-7D84ADD42834}">
      <dgm:prSet/>
      <dgm:spPr/>
      <dgm:t>
        <a:bodyPr/>
        <a:lstStyle/>
        <a:p>
          <a:endParaRPr lang="en-US"/>
        </a:p>
      </dgm:t>
    </dgm:pt>
    <dgm:pt modelId="{7EAA3670-4AA8-484A-A0FE-E8E7967012E9}" type="pres">
      <dgm:prSet presAssocID="{ED9D6387-6075-4E90-8E26-3AAA0EE7CFD2}" presName="diagram" presStyleCnt="0">
        <dgm:presLayoutVars>
          <dgm:dir/>
          <dgm:resizeHandles val="exact"/>
        </dgm:presLayoutVars>
      </dgm:prSet>
      <dgm:spPr/>
    </dgm:pt>
    <dgm:pt modelId="{ADAE6EBF-D298-4DB4-A7C3-B65BC6EDA707}" type="pres">
      <dgm:prSet presAssocID="{41556ACD-E1A5-4B29-9504-D8AEB7027567}" presName="node" presStyleLbl="node1" presStyleIdx="0" presStyleCnt="2" custScaleX="124514">
        <dgm:presLayoutVars>
          <dgm:bulletEnabled val="1"/>
        </dgm:presLayoutVars>
      </dgm:prSet>
      <dgm:spPr/>
    </dgm:pt>
    <dgm:pt modelId="{4843006F-0D0F-4241-942D-91630C517E8E}" type="pres">
      <dgm:prSet presAssocID="{443507A1-71ED-4468-9819-0A0F5E022450}" presName="sibTrans" presStyleCnt="0"/>
      <dgm:spPr/>
    </dgm:pt>
    <dgm:pt modelId="{1D82B2A2-337A-42B0-996F-DE3C71434FA6}" type="pres">
      <dgm:prSet presAssocID="{C1D0D6FB-FF27-40EF-BFAB-B5FA937AF5DE}" presName="node" presStyleLbl="node1" presStyleIdx="1" presStyleCnt="2" custScaleX="124514">
        <dgm:presLayoutVars>
          <dgm:bulletEnabled val="1"/>
        </dgm:presLayoutVars>
      </dgm:prSet>
      <dgm:spPr/>
    </dgm:pt>
  </dgm:ptLst>
  <dgm:cxnLst>
    <dgm:cxn modelId="{B0A27E14-5DA0-4F67-8D90-1DB786AB442C}" type="presOf" srcId="{C1D0D6FB-FF27-40EF-BFAB-B5FA937AF5DE}" destId="{1D82B2A2-337A-42B0-996F-DE3C71434FA6}" srcOrd="0" destOrd="0" presId="urn:microsoft.com/office/officeart/2005/8/layout/default"/>
    <dgm:cxn modelId="{B5AB6F17-40F0-44E0-BE02-7D84ADD42834}" srcId="{ED9D6387-6075-4E90-8E26-3AAA0EE7CFD2}" destId="{C1D0D6FB-FF27-40EF-BFAB-B5FA937AF5DE}" srcOrd="1" destOrd="0" parTransId="{5BD9F90A-FB0B-4EB0-85D6-692EC71BD725}" sibTransId="{9B7210CF-49AF-4DFC-9133-87F598F4A2F0}"/>
    <dgm:cxn modelId="{F5752E4B-8F4D-4ABC-B81B-984E21641E5E}" type="presOf" srcId="{41556ACD-E1A5-4B29-9504-D8AEB7027567}" destId="{ADAE6EBF-D298-4DB4-A7C3-B65BC6EDA707}" srcOrd="0" destOrd="0" presId="urn:microsoft.com/office/officeart/2005/8/layout/default"/>
    <dgm:cxn modelId="{9D3FDC87-EE97-4CFE-A8BD-CF40E172EE28}" srcId="{ED9D6387-6075-4E90-8E26-3AAA0EE7CFD2}" destId="{41556ACD-E1A5-4B29-9504-D8AEB7027567}" srcOrd="0" destOrd="0" parTransId="{1D7A3BE8-E80B-4BE2-A87A-BEAFA31A6DD0}" sibTransId="{443507A1-71ED-4468-9819-0A0F5E022450}"/>
    <dgm:cxn modelId="{E23289B7-6F5C-48AA-98E9-87F2D7EEEB49}" type="presOf" srcId="{ED9D6387-6075-4E90-8E26-3AAA0EE7CFD2}" destId="{7EAA3670-4AA8-484A-A0FE-E8E7967012E9}" srcOrd="0" destOrd="0" presId="urn:microsoft.com/office/officeart/2005/8/layout/default"/>
    <dgm:cxn modelId="{85EC6B73-7A41-4C29-B32F-ABBBB8B57340}" type="presParOf" srcId="{7EAA3670-4AA8-484A-A0FE-E8E7967012E9}" destId="{ADAE6EBF-D298-4DB4-A7C3-B65BC6EDA707}" srcOrd="0" destOrd="0" presId="urn:microsoft.com/office/officeart/2005/8/layout/default"/>
    <dgm:cxn modelId="{89049D09-C6CA-4AE0-A81C-27831ADB5510}" type="presParOf" srcId="{7EAA3670-4AA8-484A-A0FE-E8E7967012E9}" destId="{4843006F-0D0F-4241-942D-91630C517E8E}" srcOrd="1" destOrd="0" presId="urn:microsoft.com/office/officeart/2005/8/layout/default"/>
    <dgm:cxn modelId="{D5F16C7A-FC52-4ABE-BD91-93EF93E2B0D6}" type="presParOf" srcId="{7EAA3670-4AA8-484A-A0FE-E8E7967012E9}" destId="{1D82B2A2-337A-42B0-996F-DE3C71434FA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9F295D1-9495-434A-ACDE-B09239C271C2}"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DD1C4F13-9FC4-486B-91FB-D2E3781CFB6C}">
      <dgm:prSet custT="1"/>
      <dgm:spPr/>
      <dgm:t>
        <a:bodyPr/>
        <a:lstStyle/>
        <a:p>
          <a:r>
            <a:rPr lang="en-US" sz="2400" baseline="0" dirty="0"/>
            <a:t>Frequently, clustering on the primary key supports the clustered index best practices </a:t>
          </a:r>
          <a:endParaRPr lang="en-US" sz="2400" dirty="0"/>
        </a:p>
      </dgm:t>
    </dgm:pt>
    <dgm:pt modelId="{64CC6276-EE0E-4816-9172-152B5B247414}" type="parTrans" cxnId="{49D5AC7D-AF2F-49BA-9207-56C52A9C988F}">
      <dgm:prSet/>
      <dgm:spPr/>
      <dgm:t>
        <a:bodyPr/>
        <a:lstStyle/>
        <a:p>
          <a:endParaRPr lang="en-US"/>
        </a:p>
      </dgm:t>
    </dgm:pt>
    <dgm:pt modelId="{1B4874DD-54E1-4EE9-A7E7-2C4662B25B82}" type="sibTrans" cxnId="{49D5AC7D-AF2F-49BA-9207-56C52A9C988F}">
      <dgm:prSet/>
      <dgm:spPr/>
      <dgm:t>
        <a:bodyPr/>
        <a:lstStyle/>
        <a:p>
          <a:endParaRPr lang="en-US"/>
        </a:p>
      </dgm:t>
    </dgm:pt>
    <dgm:pt modelId="{2D42EFAF-3975-4A3A-B5A2-2077753EE229}">
      <dgm:prSet custT="1"/>
      <dgm:spPr/>
      <dgm:t>
        <a:bodyPr/>
        <a:lstStyle/>
        <a:p>
          <a:r>
            <a:rPr lang="en-US" sz="2000" baseline="0" dirty="0"/>
            <a:t>Primary keys are involved in joins to foreign keys</a:t>
          </a:r>
          <a:endParaRPr lang="en-US" sz="2000" dirty="0"/>
        </a:p>
      </dgm:t>
    </dgm:pt>
    <dgm:pt modelId="{6D9D9BED-EF60-4FB5-8E3C-7106D19470DB}" type="parTrans" cxnId="{7114ED15-35F6-4D36-9142-8CE86206E879}">
      <dgm:prSet/>
      <dgm:spPr/>
      <dgm:t>
        <a:bodyPr/>
        <a:lstStyle/>
        <a:p>
          <a:endParaRPr lang="en-US"/>
        </a:p>
      </dgm:t>
    </dgm:pt>
    <dgm:pt modelId="{0FC9CB30-2DC0-4138-9390-2A50E002690E}" type="sibTrans" cxnId="{7114ED15-35F6-4D36-9142-8CE86206E879}">
      <dgm:prSet/>
      <dgm:spPr/>
      <dgm:t>
        <a:bodyPr/>
        <a:lstStyle/>
        <a:p>
          <a:endParaRPr lang="en-US"/>
        </a:p>
      </dgm:t>
    </dgm:pt>
    <dgm:pt modelId="{0239D5E1-3BBD-4386-9395-F1AF465C356D}">
      <dgm:prSet custT="1"/>
      <dgm:spPr/>
      <dgm:t>
        <a:bodyPr/>
        <a:lstStyle/>
        <a:p>
          <a:r>
            <a:rPr lang="en-US" sz="2000" baseline="0" dirty="0"/>
            <a:t>Primary keys are unique</a:t>
          </a:r>
          <a:endParaRPr lang="en-US" sz="2000" dirty="0"/>
        </a:p>
      </dgm:t>
    </dgm:pt>
    <dgm:pt modelId="{CBDAA1F9-4092-4277-847D-0E6773FD2C84}" type="parTrans" cxnId="{44C2D8E8-CCEE-4B57-8656-1D77264E4028}">
      <dgm:prSet/>
      <dgm:spPr/>
      <dgm:t>
        <a:bodyPr/>
        <a:lstStyle/>
        <a:p>
          <a:endParaRPr lang="en-US"/>
        </a:p>
      </dgm:t>
    </dgm:pt>
    <dgm:pt modelId="{53E3366E-CAC7-4C89-9FA8-59ADDCBD6A08}" type="sibTrans" cxnId="{44C2D8E8-CCEE-4B57-8656-1D77264E4028}">
      <dgm:prSet/>
      <dgm:spPr/>
      <dgm:t>
        <a:bodyPr/>
        <a:lstStyle/>
        <a:p>
          <a:endParaRPr lang="en-US"/>
        </a:p>
      </dgm:t>
    </dgm:pt>
    <dgm:pt modelId="{9C6ADCDC-715E-4235-BC0A-4E380E60CA57}">
      <dgm:prSet custT="1"/>
      <dgm:spPr/>
      <dgm:t>
        <a:bodyPr/>
        <a:lstStyle/>
        <a:p>
          <a:r>
            <a:rPr lang="en-US" sz="2000" baseline="0" dirty="0"/>
            <a:t>Primary keys are typically ascending</a:t>
          </a:r>
          <a:endParaRPr lang="en-US" sz="2000" dirty="0"/>
        </a:p>
      </dgm:t>
    </dgm:pt>
    <dgm:pt modelId="{D5F2B347-2211-4F6E-8342-7E4431B8558E}" type="parTrans" cxnId="{8431FBA7-A20C-4BB7-9790-89512FF7FA31}">
      <dgm:prSet/>
      <dgm:spPr/>
      <dgm:t>
        <a:bodyPr/>
        <a:lstStyle/>
        <a:p>
          <a:endParaRPr lang="en-US"/>
        </a:p>
      </dgm:t>
    </dgm:pt>
    <dgm:pt modelId="{FF33BD2F-D60A-4F23-B375-11572ACD4CA1}" type="sibTrans" cxnId="{8431FBA7-A20C-4BB7-9790-89512FF7FA31}">
      <dgm:prSet/>
      <dgm:spPr/>
      <dgm:t>
        <a:bodyPr/>
        <a:lstStyle/>
        <a:p>
          <a:endParaRPr lang="en-US"/>
        </a:p>
      </dgm:t>
    </dgm:pt>
    <dgm:pt modelId="{A1065AE8-CB36-4F21-878D-A464BB548BBB}">
      <dgm:prSet custT="1"/>
      <dgm:spPr/>
      <dgm:t>
        <a:bodyPr/>
        <a:lstStyle/>
        <a:p>
          <a:r>
            <a:rPr lang="en-US" sz="2000" baseline="0" dirty="0"/>
            <a:t>Primary keys are typically not updated</a:t>
          </a:r>
          <a:endParaRPr lang="en-US" sz="2000" dirty="0"/>
        </a:p>
      </dgm:t>
    </dgm:pt>
    <dgm:pt modelId="{40746178-96B7-4178-BA54-791C9FD039AA}" type="parTrans" cxnId="{71A75A16-24B2-4B43-894E-B226AEC37543}">
      <dgm:prSet/>
      <dgm:spPr/>
      <dgm:t>
        <a:bodyPr/>
        <a:lstStyle/>
        <a:p>
          <a:endParaRPr lang="en-US"/>
        </a:p>
      </dgm:t>
    </dgm:pt>
    <dgm:pt modelId="{B6B8D920-632B-48A4-AE02-63B1AAAE9DD5}" type="sibTrans" cxnId="{71A75A16-24B2-4B43-894E-B226AEC37543}">
      <dgm:prSet/>
      <dgm:spPr/>
      <dgm:t>
        <a:bodyPr/>
        <a:lstStyle/>
        <a:p>
          <a:endParaRPr lang="en-US"/>
        </a:p>
      </dgm:t>
    </dgm:pt>
    <dgm:pt modelId="{371D3977-141F-4BF0-B9EA-633D5BB69409}">
      <dgm:prSet custT="1"/>
      <dgm:spPr/>
      <dgm:t>
        <a:bodyPr/>
        <a:lstStyle/>
        <a:p>
          <a:r>
            <a:rPr lang="en-US" sz="2400" baseline="0" dirty="0"/>
            <a:t>Do not cluster on the Primary key</a:t>
          </a:r>
          <a:endParaRPr lang="en-US" sz="2400" dirty="0"/>
        </a:p>
      </dgm:t>
    </dgm:pt>
    <dgm:pt modelId="{50FDAC76-F8FF-4045-A528-B019CB297FBE}" type="parTrans" cxnId="{1AD3CE01-A084-478F-B173-D8F4FE644C2F}">
      <dgm:prSet/>
      <dgm:spPr/>
      <dgm:t>
        <a:bodyPr/>
        <a:lstStyle/>
        <a:p>
          <a:endParaRPr lang="en-US"/>
        </a:p>
      </dgm:t>
    </dgm:pt>
    <dgm:pt modelId="{F52CDA41-6081-42B4-A6AA-C51B619A7F6B}" type="sibTrans" cxnId="{1AD3CE01-A084-478F-B173-D8F4FE644C2F}">
      <dgm:prSet/>
      <dgm:spPr/>
      <dgm:t>
        <a:bodyPr/>
        <a:lstStyle/>
        <a:p>
          <a:endParaRPr lang="en-US"/>
        </a:p>
      </dgm:t>
    </dgm:pt>
    <dgm:pt modelId="{048D4CC5-ED7C-4310-B812-228484C5207A}">
      <dgm:prSet custT="1"/>
      <dgm:spPr/>
      <dgm:t>
        <a:bodyPr/>
        <a:lstStyle/>
        <a:p>
          <a:r>
            <a:rPr lang="en-US" sz="2000" baseline="0" dirty="0"/>
            <a:t>When table is accessed by other keys than the primary key</a:t>
          </a:r>
          <a:endParaRPr lang="en-US" sz="2000" dirty="0"/>
        </a:p>
      </dgm:t>
    </dgm:pt>
    <dgm:pt modelId="{975F103A-4E35-4AC6-AD19-4694D08DCCF2}" type="parTrans" cxnId="{B899F9B1-04FB-430F-86AD-088CAC7B886F}">
      <dgm:prSet/>
      <dgm:spPr/>
      <dgm:t>
        <a:bodyPr/>
        <a:lstStyle/>
        <a:p>
          <a:endParaRPr lang="en-US"/>
        </a:p>
      </dgm:t>
    </dgm:pt>
    <dgm:pt modelId="{E487A8B6-1A5D-405C-B048-CE528E7FF69E}" type="sibTrans" cxnId="{B899F9B1-04FB-430F-86AD-088CAC7B886F}">
      <dgm:prSet/>
      <dgm:spPr/>
      <dgm:t>
        <a:bodyPr/>
        <a:lstStyle/>
        <a:p>
          <a:endParaRPr lang="en-US"/>
        </a:p>
      </dgm:t>
    </dgm:pt>
    <dgm:pt modelId="{1609C9F7-F4B3-44BB-BBB0-F3652566417F}">
      <dgm:prSet custT="1"/>
      <dgm:spPr/>
      <dgm:t>
        <a:bodyPr/>
        <a:lstStyle/>
        <a:p>
          <a:r>
            <a:rPr lang="en-US" sz="2000" dirty="0"/>
            <a:t>Query predicate use Primary Key</a:t>
          </a:r>
        </a:p>
      </dgm:t>
    </dgm:pt>
    <dgm:pt modelId="{7F4A7DE5-3685-48B9-95E1-11520F9090D7}" type="parTrans" cxnId="{8E954427-1E32-498D-BA2C-878880E64212}">
      <dgm:prSet/>
      <dgm:spPr/>
      <dgm:t>
        <a:bodyPr/>
        <a:lstStyle/>
        <a:p>
          <a:endParaRPr lang="en-US"/>
        </a:p>
      </dgm:t>
    </dgm:pt>
    <dgm:pt modelId="{56B78EF2-8DAB-403D-9668-FBE36ABE0E5E}" type="sibTrans" cxnId="{8E954427-1E32-498D-BA2C-878880E64212}">
      <dgm:prSet/>
      <dgm:spPr/>
      <dgm:t>
        <a:bodyPr/>
        <a:lstStyle/>
        <a:p>
          <a:endParaRPr lang="en-US"/>
        </a:p>
      </dgm:t>
    </dgm:pt>
    <dgm:pt modelId="{FB81EDA5-4273-45DF-9E09-869D5B2A71D5}">
      <dgm:prSet custT="1"/>
      <dgm:spPr/>
      <dgm:t>
        <a:bodyPr/>
        <a:lstStyle/>
        <a:p>
          <a:r>
            <a:rPr lang="en-US" sz="2000" dirty="0"/>
            <a:t>Common issue accessing association or child table, when these tables require different primary key than parent table</a:t>
          </a:r>
        </a:p>
      </dgm:t>
    </dgm:pt>
    <dgm:pt modelId="{A62B411E-F6D5-4F92-83D3-6F2B8486B777}" type="parTrans" cxnId="{22ECD1D3-DF05-4CBB-94CE-19E409781003}">
      <dgm:prSet/>
      <dgm:spPr/>
      <dgm:t>
        <a:bodyPr/>
        <a:lstStyle/>
        <a:p>
          <a:endParaRPr lang="en-US"/>
        </a:p>
      </dgm:t>
    </dgm:pt>
    <dgm:pt modelId="{0A65757F-5C77-4CB8-B9B3-1C46F2E8060F}" type="sibTrans" cxnId="{22ECD1D3-DF05-4CBB-94CE-19E409781003}">
      <dgm:prSet/>
      <dgm:spPr/>
      <dgm:t>
        <a:bodyPr/>
        <a:lstStyle/>
        <a:p>
          <a:endParaRPr lang="en-US"/>
        </a:p>
      </dgm:t>
    </dgm:pt>
    <dgm:pt modelId="{66704821-7248-43BE-B82A-87EC2C1731B6}">
      <dgm:prSet custT="1"/>
      <dgm:spPr/>
      <dgm:t>
        <a:bodyPr/>
        <a:lstStyle/>
        <a:p>
          <a:r>
            <a:rPr lang="en-US" sz="2000" baseline="0" dirty="0"/>
            <a:t>Use </a:t>
          </a:r>
          <a:r>
            <a:rPr lang="en-US" sz="2000" baseline="0" dirty="0" err="1">
              <a:solidFill>
                <a:schemeClr val="accent4"/>
              </a:solidFill>
            </a:rPr>
            <a:t>sys.dm_db_index_usage_stats</a:t>
          </a:r>
          <a:r>
            <a:rPr lang="en-US" sz="2000" baseline="0" dirty="0">
              <a:solidFill>
                <a:schemeClr val="accent4"/>
              </a:solidFill>
            </a:rPr>
            <a:t> </a:t>
          </a:r>
          <a:r>
            <a:rPr lang="en-US" sz="2000" baseline="0" dirty="0"/>
            <a:t>to review data access patterns of index</a:t>
          </a:r>
          <a:endParaRPr lang="en-US" sz="2000" dirty="0"/>
        </a:p>
      </dgm:t>
    </dgm:pt>
    <dgm:pt modelId="{8A74600B-7385-4A3E-A2DC-3C1448B158CD}" type="parTrans" cxnId="{BB61EE6E-1AD7-4CA1-A918-FEF6E1861C99}">
      <dgm:prSet/>
      <dgm:spPr/>
      <dgm:t>
        <a:bodyPr/>
        <a:lstStyle/>
        <a:p>
          <a:endParaRPr lang="en-US"/>
        </a:p>
      </dgm:t>
    </dgm:pt>
    <dgm:pt modelId="{0BC50B3F-ECF6-49FD-BF75-74D690A9EA59}" type="sibTrans" cxnId="{BB61EE6E-1AD7-4CA1-A918-FEF6E1861C99}">
      <dgm:prSet/>
      <dgm:spPr/>
      <dgm:t>
        <a:bodyPr/>
        <a:lstStyle/>
        <a:p>
          <a:endParaRPr lang="en-US"/>
        </a:p>
      </dgm:t>
    </dgm:pt>
    <dgm:pt modelId="{1F3A83D4-6249-49E9-9B7E-09B9B0FA5858}" type="pres">
      <dgm:prSet presAssocID="{69F295D1-9495-434A-ACDE-B09239C271C2}" presName="Name0" presStyleCnt="0">
        <dgm:presLayoutVars>
          <dgm:dir/>
          <dgm:animLvl val="lvl"/>
          <dgm:resizeHandles val="exact"/>
        </dgm:presLayoutVars>
      </dgm:prSet>
      <dgm:spPr/>
    </dgm:pt>
    <dgm:pt modelId="{0ED41FA7-CF40-41A8-8478-61A100DA76A2}" type="pres">
      <dgm:prSet presAssocID="{DD1C4F13-9FC4-486B-91FB-D2E3781CFB6C}" presName="composite" presStyleCnt="0"/>
      <dgm:spPr/>
    </dgm:pt>
    <dgm:pt modelId="{860BFC81-22E8-45D4-901A-23C691F6DEB9}" type="pres">
      <dgm:prSet presAssocID="{DD1C4F13-9FC4-486B-91FB-D2E3781CFB6C}" presName="parTx" presStyleLbl="alignNode1" presStyleIdx="0" presStyleCnt="2">
        <dgm:presLayoutVars>
          <dgm:chMax val="0"/>
          <dgm:chPref val="0"/>
          <dgm:bulletEnabled val="1"/>
        </dgm:presLayoutVars>
      </dgm:prSet>
      <dgm:spPr/>
    </dgm:pt>
    <dgm:pt modelId="{6AF58ACC-1A49-4713-A8CF-20B66EAA09E8}" type="pres">
      <dgm:prSet presAssocID="{DD1C4F13-9FC4-486B-91FB-D2E3781CFB6C}" presName="desTx" presStyleLbl="alignAccFollowNode1" presStyleIdx="0" presStyleCnt="2">
        <dgm:presLayoutVars>
          <dgm:bulletEnabled val="1"/>
        </dgm:presLayoutVars>
      </dgm:prSet>
      <dgm:spPr/>
    </dgm:pt>
    <dgm:pt modelId="{05F6E754-1249-41A9-8521-CC943A994D34}" type="pres">
      <dgm:prSet presAssocID="{1B4874DD-54E1-4EE9-A7E7-2C4662B25B82}" presName="space" presStyleCnt="0"/>
      <dgm:spPr/>
    </dgm:pt>
    <dgm:pt modelId="{50E9CBC8-1370-4E73-AF3B-03E9242989B0}" type="pres">
      <dgm:prSet presAssocID="{371D3977-141F-4BF0-B9EA-633D5BB69409}" presName="composite" presStyleCnt="0"/>
      <dgm:spPr/>
    </dgm:pt>
    <dgm:pt modelId="{C2D0EB96-AF50-4A35-A3DE-D8C7A53C0B87}" type="pres">
      <dgm:prSet presAssocID="{371D3977-141F-4BF0-B9EA-633D5BB69409}" presName="parTx" presStyleLbl="alignNode1" presStyleIdx="1" presStyleCnt="2">
        <dgm:presLayoutVars>
          <dgm:chMax val="0"/>
          <dgm:chPref val="0"/>
          <dgm:bulletEnabled val="1"/>
        </dgm:presLayoutVars>
      </dgm:prSet>
      <dgm:spPr/>
    </dgm:pt>
    <dgm:pt modelId="{EC2D2716-7AE0-4C46-9709-86BA3F5024B8}" type="pres">
      <dgm:prSet presAssocID="{371D3977-141F-4BF0-B9EA-633D5BB69409}" presName="desTx" presStyleLbl="alignAccFollowNode1" presStyleIdx="1" presStyleCnt="2">
        <dgm:presLayoutVars>
          <dgm:bulletEnabled val="1"/>
        </dgm:presLayoutVars>
      </dgm:prSet>
      <dgm:spPr/>
    </dgm:pt>
  </dgm:ptLst>
  <dgm:cxnLst>
    <dgm:cxn modelId="{1AD3CE01-A084-478F-B173-D8F4FE644C2F}" srcId="{69F295D1-9495-434A-ACDE-B09239C271C2}" destId="{371D3977-141F-4BF0-B9EA-633D5BB69409}" srcOrd="1" destOrd="0" parTransId="{50FDAC76-F8FF-4045-A528-B019CB297FBE}" sibTransId="{F52CDA41-6081-42B4-A6AA-C51B619A7F6B}"/>
    <dgm:cxn modelId="{7E5FF513-45C0-45BC-AB30-4FA942476594}" type="presOf" srcId="{048D4CC5-ED7C-4310-B812-228484C5207A}" destId="{EC2D2716-7AE0-4C46-9709-86BA3F5024B8}" srcOrd="0" destOrd="0" presId="urn:microsoft.com/office/officeart/2005/8/layout/hList1"/>
    <dgm:cxn modelId="{7114ED15-35F6-4D36-9142-8CE86206E879}" srcId="{DD1C4F13-9FC4-486B-91FB-D2E3781CFB6C}" destId="{2D42EFAF-3975-4A3A-B5A2-2077753EE229}" srcOrd="1" destOrd="0" parTransId="{6D9D9BED-EF60-4FB5-8E3C-7106D19470DB}" sibTransId="{0FC9CB30-2DC0-4138-9390-2A50E002690E}"/>
    <dgm:cxn modelId="{71A75A16-24B2-4B43-894E-B226AEC37543}" srcId="{DD1C4F13-9FC4-486B-91FB-D2E3781CFB6C}" destId="{A1065AE8-CB36-4F21-878D-A464BB548BBB}" srcOrd="4" destOrd="0" parTransId="{40746178-96B7-4178-BA54-791C9FD039AA}" sibTransId="{B6B8D920-632B-48A4-AE02-63B1AAAE9DD5}"/>
    <dgm:cxn modelId="{8E954427-1E32-498D-BA2C-878880E64212}" srcId="{DD1C4F13-9FC4-486B-91FB-D2E3781CFB6C}" destId="{1609C9F7-F4B3-44BB-BBB0-F3652566417F}" srcOrd="0" destOrd="0" parTransId="{7F4A7DE5-3685-48B9-95E1-11520F9090D7}" sibTransId="{56B78EF2-8DAB-403D-9668-FBE36ABE0E5E}"/>
    <dgm:cxn modelId="{FD01F45E-61B4-4DBE-A742-CFC26C5275E6}" type="presOf" srcId="{69F295D1-9495-434A-ACDE-B09239C271C2}" destId="{1F3A83D4-6249-49E9-9B7E-09B9B0FA5858}" srcOrd="0" destOrd="0" presId="urn:microsoft.com/office/officeart/2005/8/layout/hList1"/>
    <dgm:cxn modelId="{E7DEFE41-28B9-42B7-9172-6253F0C27CB7}" type="presOf" srcId="{371D3977-141F-4BF0-B9EA-633D5BB69409}" destId="{C2D0EB96-AF50-4A35-A3DE-D8C7A53C0B87}" srcOrd="0" destOrd="0" presId="urn:microsoft.com/office/officeart/2005/8/layout/hList1"/>
    <dgm:cxn modelId="{BB61EE6E-1AD7-4CA1-A918-FEF6E1861C99}" srcId="{371D3977-141F-4BF0-B9EA-633D5BB69409}" destId="{66704821-7248-43BE-B82A-87EC2C1731B6}" srcOrd="2" destOrd="0" parTransId="{8A74600B-7385-4A3E-A2DC-3C1448B158CD}" sibTransId="{0BC50B3F-ECF6-49FD-BF75-74D690A9EA59}"/>
    <dgm:cxn modelId="{FEC87B78-E446-4065-BA8C-1A6D42DA74D1}" type="presOf" srcId="{0239D5E1-3BBD-4386-9395-F1AF465C356D}" destId="{6AF58ACC-1A49-4713-A8CF-20B66EAA09E8}" srcOrd="0" destOrd="2" presId="urn:microsoft.com/office/officeart/2005/8/layout/hList1"/>
    <dgm:cxn modelId="{49D5AC7D-AF2F-49BA-9207-56C52A9C988F}" srcId="{69F295D1-9495-434A-ACDE-B09239C271C2}" destId="{DD1C4F13-9FC4-486B-91FB-D2E3781CFB6C}" srcOrd="0" destOrd="0" parTransId="{64CC6276-EE0E-4816-9172-152B5B247414}" sibTransId="{1B4874DD-54E1-4EE9-A7E7-2C4662B25B82}"/>
    <dgm:cxn modelId="{E3CB4282-1185-401C-ABBC-855B7C2A63DD}" type="presOf" srcId="{9C6ADCDC-715E-4235-BC0A-4E380E60CA57}" destId="{6AF58ACC-1A49-4713-A8CF-20B66EAA09E8}" srcOrd="0" destOrd="3" presId="urn:microsoft.com/office/officeart/2005/8/layout/hList1"/>
    <dgm:cxn modelId="{960E4F95-325B-4BF3-BF3C-F093C6DCFE31}" type="presOf" srcId="{DD1C4F13-9FC4-486B-91FB-D2E3781CFB6C}" destId="{860BFC81-22E8-45D4-901A-23C691F6DEB9}" srcOrd="0" destOrd="0" presId="urn:microsoft.com/office/officeart/2005/8/layout/hList1"/>
    <dgm:cxn modelId="{8431FBA7-A20C-4BB7-9790-89512FF7FA31}" srcId="{DD1C4F13-9FC4-486B-91FB-D2E3781CFB6C}" destId="{9C6ADCDC-715E-4235-BC0A-4E380E60CA57}" srcOrd="3" destOrd="0" parTransId="{D5F2B347-2211-4F6E-8342-7E4431B8558E}" sibTransId="{FF33BD2F-D60A-4F23-B375-11572ACD4CA1}"/>
    <dgm:cxn modelId="{A2085BAF-ED15-47A5-A34B-4249EB361E87}" type="presOf" srcId="{FB81EDA5-4273-45DF-9E09-869D5B2A71D5}" destId="{EC2D2716-7AE0-4C46-9709-86BA3F5024B8}" srcOrd="0" destOrd="1" presId="urn:microsoft.com/office/officeart/2005/8/layout/hList1"/>
    <dgm:cxn modelId="{B899F9B1-04FB-430F-86AD-088CAC7B886F}" srcId="{371D3977-141F-4BF0-B9EA-633D5BB69409}" destId="{048D4CC5-ED7C-4310-B812-228484C5207A}" srcOrd="0" destOrd="0" parTransId="{975F103A-4E35-4AC6-AD19-4694D08DCCF2}" sibTransId="{E487A8B6-1A5D-405C-B048-CE528E7FF69E}"/>
    <dgm:cxn modelId="{689190B7-D34E-4D77-8E8D-E8BF333478AE}" type="presOf" srcId="{1609C9F7-F4B3-44BB-BBB0-F3652566417F}" destId="{6AF58ACC-1A49-4713-A8CF-20B66EAA09E8}" srcOrd="0" destOrd="0" presId="urn:microsoft.com/office/officeart/2005/8/layout/hList1"/>
    <dgm:cxn modelId="{A7E5BEBF-5C1E-4D38-9708-B2652DEEFA4E}" type="presOf" srcId="{2D42EFAF-3975-4A3A-B5A2-2077753EE229}" destId="{6AF58ACC-1A49-4713-A8CF-20B66EAA09E8}" srcOrd="0" destOrd="1" presId="urn:microsoft.com/office/officeart/2005/8/layout/hList1"/>
    <dgm:cxn modelId="{22ECD1D3-DF05-4CBB-94CE-19E409781003}" srcId="{371D3977-141F-4BF0-B9EA-633D5BB69409}" destId="{FB81EDA5-4273-45DF-9E09-869D5B2A71D5}" srcOrd="1" destOrd="0" parTransId="{A62B411E-F6D5-4F92-83D3-6F2B8486B777}" sibTransId="{0A65757F-5C77-4CB8-B9B3-1C46F2E8060F}"/>
    <dgm:cxn modelId="{84C7E1DB-2451-4411-89F8-1823926B000E}" type="presOf" srcId="{A1065AE8-CB36-4F21-878D-A464BB548BBB}" destId="{6AF58ACC-1A49-4713-A8CF-20B66EAA09E8}" srcOrd="0" destOrd="4" presId="urn:microsoft.com/office/officeart/2005/8/layout/hList1"/>
    <dgm:cxn modelId="{44C2D8E8-CCEE-4B57-8656-1D77264E4028}" srcId="{DD1C4F13-9FC4-486B-91FB-D2E3781CFB6C}" destId="{0239D5E1-3BBD-4386-9395-F1AF465C356D}" srcOrd="2" destOrd="0" parTransId="{CBDAA1F9-4092-4277-847D-0E6773FD2C84}" sibTransId="{53E3366E-CAC7-4C89-9FA8-59ADDCBD6A08}"/>
    <dgm:cxn modelId="{FB49F8F7-1569-4885-95D5-9AC3AE575A8D}" type="presOf" srcId="{66704821-7248-43BE-B82A-87EC2C1731B6}" destId="{EC2D2716-7AE0-4C46-9709-86BA3F5024B8}" srcOrd="0" destOrd="2" presId="urn:microsoft.com/office/officeart/2005/8/layout/hList1"/>
    <dgm:cxn modelId="{2BC8C5BE-1A11-4192-B7D1-C662794F70B7}" type="presParOf" srcId="{1F3A83D4-6249-49E9-9B7E-09B9B0FA5858}" destId="{0ED41FA7-CF40-41A8-8478-61A100DA76A2}" srcOrd="0" destOrd="0" presId="urn:microsoft.com/office/officeart/2005/8/layout/hList1"/>
    <dgm:cxn modelId="{7A63264B-741E-4992-ACB9-E28FCCE49AC6}" type="presParOf" srcId="{0ED41FA7-CF40-41A8-8478-61A100DA76A2}" destId="{860BFC81-22E8-45D4-901A-23C691F6DEB9}" srcOrd="0" destOrd="0" presId="urn:microsoft.com/office/officeart/2005/8/layout/hList1"/>
    <dgm:cxn modelId="{D40F0F92-F1A0-4D1A-927E-0E96A455A7B1}" type="presParOf" srcId="{0ED41FA7-CF40-41A8-8478-61A100DA76A2}" destId="{6AF58ACC-1A49-4713-A8CF-20B66EAA09E8}" srcOrd="1" destOrd="0" presId="urn:microsoft.com/office/officeart/2005/8/layout/hList1"/>
    <dgm:cxn modelId="{DED5CD13-B578-43BF-ABC6-FA6773424BB8}" type="presParOf" srcId="{1F3A83D4-6249-49E9-9B7E-09B9B0FA5858}" destId="{05F6E754-1249-41A9-8521-CC943A994D34}" srcOrd="1" destOrd="0" presId="urn:microsoft.com/office/officeart/2005/8/layout/hList1"/>
    <dgm:cxn modelId="{2C3A55AA-BC88-428C-B219-A43EDD4C487A}" type="presParOf" srcId="{1F3A83D4-6249-49E9-9B7E-09B9B0FA5858}" destId="{50E9CBC8-1370-4E73-AF3B-03E9242989B0}" srcOrd="2" destOrd="0" presId="urn:microsoft.com/office/officeart/2005/8/layout/hList1"/>
    <dgm:cxn modelId="{6556FD75-0FE4-4DEF-9C44-2A945177E4B9}" type="presParOf" srcId="{50E9CBC8-1370-4E73-AF3B-03E9242989B0}" destId="{C2D0EB96-AF50-4A35-A3DE-D8C7A53C0B87}" srcOrd="0" destOrd="0" presId="urn:microsoft.com/office/officeart/2005/8/layout/hList1"/>
    <dgm:cxn modelId="{37554F94-1622-4DFA-89ED-662FDBDD331C}" type="presParOf" srcId="{50E9CBC8-1370-4E73-AF3B-03E9242989B0}" destId="{EC2D2716-7AE0-4C46-9709-86BA3F5024B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2B144E6-D949-4E13-91B8-44C679D54359}"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104B48D5-CEE0-4BF9-A917-7AA8691A867B}">
      <dgm:prSet custT="1"/>
      <dgm:spPr/>
      <dgm:t>
        <a:bodyPr/>
        <a:lstStyle/>
        <a:p>
          <a:r>
            <a:rPr lang="en-US" sz="2400" baseline="0"/>
            <a:t>Index columns used in WHERE clauses and JOINs.</a:t>
          </a:r>
          <a:endParaRPr lang="en-US" sz="2400"/>
        </a:p>
      </dgm:t>
    </dgm:pt>
    <dgm:pt modelId="{D1D7101F-4E5D-4840-8147-0588CFD8232D}" type="parTrans" cxnId="{ADB6E701-BCB0-4BD0-B9DE-946AFD80D117}">
      <dgm:prSet/>
      <dgm:spPr/>
      <dgm:t>
        <a:bodyPr/>
        <a:lstStyle/>
        <a:p>
          <a:endParaRPr lang="en-US"/>
        </a:p>
      </dgm:t>
    </dgm:pt>
    <dgm:pt modelId="{380F6D13-8DFF-4691-A2A7-65C2F99CE32C}" type="sibTrans" cxnId="{ADB6E701-BCB0-4BD0-B9DE-946AFD80D117}">
      <dgm:prSet/>
      <dgm:spPr/>
      <dgm:t>
        <a:bodyPr/>
        <a:lstStyle/>
        <a:p>
          <a:endParaRPr lang="en-US"/>
        </a:p>
      </dgm:t>
    </dgm:pt>
    <dgm:pt modelId="{E6EF54DE-3261-4B89-AC39-CCAF4ADE487D}">
      <dgm:prSet custT="1"/>
      <dgm:spPr/>
      <dgm:t>
        <a:bodyPr/>
        <a:lstStyle/>
        <a:p>
          <a:r>
            <a:rPr lang="en-US" sz="2400" baseline="0" dirty="0"/>
            <a:t>Keep indexes to a minimum, to minimize impact on DML and log writes.</a:t>
          </a:r>
          <a:endParaRPr lang="en-US" sz="2400" dirty="0"/>
        </a:p>
      </dgm:t>
    </dgm:pt>
    <dgm:pt modelId="{1A2DC477-06E7-4A2E-A7E3-3598C8E0E7D0}" type="parTrans" cxnId="{2FA0C50D-AE4B-4232-A195-679C88A2EC68}">
      <dgm:prSet/>
      <dgm:spPr/>
      <dgm:t>
        <a:bodyPr/>
        <a:lstStyle/>
        <a:p>
          <a:endParaRPr lang="en-US"/>
        </a:p>
      </dgm:t>
    </dgm:pt>
    <dgm:pt modelId="{2F90BA95-561B-420D-A217-5A8D2324C524}" type="sibTrans" cxnId="{2FA0C50D-AE4B-4232-A195-679C88A2EC68}">
      <dgm:prSet/>
      <dgm:spPr/>
      <dgm:t>
        <a:bodyPr/>
        <a:lstStyle/>
        <a:p>
          <a:endParaRPr lang="en-US"/>
        </a:p>
      </dgm:t>
    </dgm:pt>
    <dgm:pt modelId="{DC62D462-80F2-4BCA-A65D-1434534AE0F5}">
      <dgm:prSet custT="1"/>
      <dgm:spPr/>
      <dgm:t>
        <a:bodyPr/>
        <a:lstStyle/>
        <a:p>
          <a:r>
            <a:rPr lang="en-US" sz="2400" baseline="0" dirty="0"/>
            <a:t>Two basic approaches: Single column indexes or Multicolumn indexes</a:t>
          </a:r>
          <a:endParaRPr lang="en-US" sz="2400" dirty="0"/>
        </a:p>
      </dgm:t>
    </dgm:pt>
    <dgm:pt modelId="{0F90FB3C-FAC7-49CF-B38B-BC4629C3590E}" type="parTrans" cxnId="{5D4D276D-758D-433A-8AB3-4022FD91A14C}">
      <dgm:prSet/>
      <dgm:spPr/>
      <dgm:t>
        <a:bodyPr/>
        <a:lstStyle/>
        <a:p>
          <a:endParaRPr lang="en-US"/>
        </a:p>
      </dgm:t>
    </dgm:pt>
    <dgm:pt modelId="{453F7E31-12EC-420E-BDC3-553A3E820043}" type="sibTrans" cxnId="{5D4D276D-758D-433A-8AB3-4022FD91A14C}">
      <dgm:prSet/>
      <dgm:spPr/>
      <dgm:t>
        <a:bodyPr/>
        <a:lstStyle/>
        <a:p>
          <a:endParaRPr lang="en-US"/>
        </a:p>
      </dgm:t>
    </dgm:pt>
    <dgm:pt modelId="{2BC8DBF8-7FC5-466D-9C72-7AA9C85AB96C}">
      <dgm:prSet custT="1"/>
      <dgm:spPr/>
      <dgm:t>
        <a:bodyPr/>
        <a:lstStyle/>
        <a:p>
          <a:r>
            <a:rPr lang="en-US" sz="2400" baseline="0" dirty="0"/>
            <a:t>Easy to create too many nonclustered indexes.</a:t>
          </a:r>
          <a:endParaRPr lang="en-US" sz="2400" dirty="0"/>
        </a:p>
      </dgm:t>
    </dgm:pt>
    <dgm:pt modelId="{290F7836-957E-4D2C-BF6C-59AC3CBE71B7}" type="parTrans" cxnId="{B7C85A81-4EB6-47E4-9F09-DE87E661A430}">
      <dgm:prSet/>
      <dgm:spPr/>
      <dgm:t>
        <a:bodyPr/>
        <a:lstStyle/>
        <a:p>
          <a:endParaRPr lang="en-US"/>
        </a:p>
      </dgm:t>
    </dgm:pt>
    <dgm:pt modelId="{D671445A-C4C2-40D0-8569-EB3796B003E9}" type="sibTrans" cxnId="{B7C85A81-4EB6-47E4-9F09-DE87E661A430}">
      <dgm:prSet/>
      <dgm:spPr/>
      <dgm:t>
        <a:bodyPr/>
        <a:lstStyle/>
        <a:p>
          <a:endParaRPr lang="en-US"/>
        </a:p>
      </dgm:t>
    </dgm:pt>
    <dgm:pt modelId="{2405F436-5AB9-4EE7-AF83-0655C14C2DDB}">
      <dgm:prSet custT="1"/>
      <dgm:spPr/>
      <dgm:t>
        <a:bodyPr/>
        <a:lstStyle/>
        <a:p>
          <a:r>
            <a:rPr lang="en-US" sz="2400" baseline="0" dirty="0"/>
            <a:t>Specific indexes are appropriate for high-impact queries.</a:t>
          </a:r>
          <a:endParaRPr lang="en-US" sz="2400" dirty="0"/>
        </a:p>
      </dgm:t>
    </dgm:pt>
    <dgm:pt modelId="{14B1C3D5-AEFF-44A9-9F9F-CDDBADEC0766}" type="parTrans" cxnId="{A5CBD8FF-3C8C-45C0-901A-0E2E72C4B3DA}">
      <dgm:prSet/>
      <dgm:spPr/>
      <dgm:t>
        <a:bodyPr/>
        <a:lstStyle/>
        <a:p>
          <a:endParaRPr lang="en-US"/>
        </a:p>
      </dgm:t>
    </dgm:pt>
    <dgm:pt modelId="{390C3506-9129-4DC1-9698-D41C93F9F92E}" type="sibTrans" cxnId="{A5CBD8FF-3C8C-45C0-901A-0E2E72C4B3DA}">
      <dgm:prSet/>
      <dgm:spPr/>
      <dgm:t>
        <a:bodyPr/>
        <a:lstStyle/>
        <a:p>
          <a:endParaRPr lang="en-US"/>
        </a:p>
      </dgm:t>
    </dgm:pt>
    <dgm:pt modelId="{F8AC39A2-16A7-4386-986C-2CFFEEB8ABCE}">
      <dgm:prSet custT="1"/>
      <dgm:spPr/>
      <dgm:t>
        <a:bodyPr/>
        <a:lstStyle/>
        <a:p>
          <a:r>
            <a:rPr lang="en-US" sz="2400" baseline="0" dirty="0"/>
            <a:t>Ideally the focus should be writing queries to use existing indexes, rather than on adding more indexes.</a:t>
          </a:r>
          <a:endParaRPr lang="en-US" sz="2400" dirty="0"/>
        </a:p>
      </dgm:t>
    </dgm:pt>
    <dgm:pt modelId="{D18AEB16-C23B-47D0-A1ED-5D52CA886B32}" type="parTrans" cxnId="{66AB1D99-5B24-48C2-84D6-B24B888D4021}">
      <dgm:prSet/>
      <dgm:spPr/>
      <dgm:t>
        <a:bodyPr/>
        <a:lstStyle/>
        <a:p>
          <a:endParaRPr lang="en-US"/>
        </a:p>
      </dgm:t>
    </dgm:pt>
    <dgm:pt modelId="{CD648EA4-3068-46E5-A79C-21D13F4D1EAF}" type="sibTrans" cxnId="{66AB1D99-5B24-48C2-84D6-B24B888D4021}">
      <dgm:prSet/>
      <dgm:spPr/>
      <dgm:t>
        <a:bodyPr/>
        <a:lstStyle/>
        <a:p>
          <a:endParaRPr lang="en-US"/>
        </a:p>
      </dgm:t>
    </dgm:pt>
    <dgm:pt modelId="{234A540B-5F8B-438C-AA06-4B951EB04D01}" type="pres">
      <dgm:prSet presAssocID="{72B144E6-D949-4E13-91B8-44C679D54359}" presName="diagram" presStyleCnt="0">
        <dgm:presLayoutVars>
          <dgm:dir/>
          <dgm:resizeHandles val="exact"/>
        </dgm:presLayoutVars>
      </dgm:prSet>
      <dgm:spPr/>
    </dgm:pt>
    <dgm:pt modelId="{8B58023E-5379-4E43-8D5C-BDFB7061ED99}" type="pres">
      <dgm:prSet presAssocID="{104B48D5-CEE0-4BF9-A917-7AA8691A867B}" presName="node" presStyleLbl="node1" presStyleIdx="0" presStyleCnt="6">
        <dgm:presLayoutVars>
          <dgm:bulletEnabled val="1"/>
        </dgm:presLayoutVars>
      </dgm:prSet>
      <dgm:spPr/>
    </dgm:pt>
    <dgm:pt modelId="{577A4C86-3C95-4190-BE08-61EBEEF82BF3}" type="pres">
      <dgm:prSet presAssocID="{380F6D13-8DFF-4691-A2A7-65C2F99CE32C}" presName="sibTrans" presStyleCnt="0"/>
      <dgm:spPr/>
    </dgm:pt>
    <dgm:pt modelId="{C74C92D6-8014-4E1D-9165-76DF4C5E6A84}" type="pres">
      <dgm:prSet presAssocID="{E6EF54DE-3261-4B89-AC39-CCAF4ADE487D}" presName="node" presStyleLbl="node1" presStyleIdx="1" presStyleCnt="6">
        <dgm:presLayoutVars>
          <dgm:bulletEnabled val="1"/>
        </dgm:presLayoutVars>
      </dgm:prSet>
      <dgm:spPr/>
    </dgm:pt>
    <dgm:pt modelId="{08BA9004-0ED5-4FF9-98E0-1EB590CDDDDE}" type="pres">
      <dgm:prSet presAssocID="{2F90BA95-561B-420D-A217-5A8D2324C524}" presName="sibTrans" presStyleCnt="0"/>
      <dgm:spPr/>
    </dgm:pt>
    <dgm:pt modelId="{66311983-4D89-46B6-8ACF-DE2D1AA6A44E}" type="pres">
      <dgm:prSet presAssocID="{DC62D462-80F2-4BCA-A65D-1434534AE0F5}" presName="node" presStyleLbl="node1" presStyleIdx="2" presStyleCnt="6">
        <dgm:presLayoutVars>
          <dgm:bulletEnabled val="1"/>
        </dgm:presLayoutVars>
      </dgm:prSet>
      <dgm:spPr/>
    </dgm:pt>
    <dgm:pt modelId="{1C140366-9DC3-4391-BF47-661EC0A41A1B}" type="pres">
      <dgm:prSet presAssocID="{453F7E31-12EC-420E-BDC3-553A3E820043}" presName="sibTrans" presStyleCnt="0"/>
      <dgm:spPr/>
    </dgm:pt>
    <dgm:pt modelId="{75123E70-C1E2-4C1F-8147-91166157351C}" type="pres">
      <dgm:prSet presAssocID="{2BC8DBF8-7FC5-466D-9C72-7AA9C85AB96C}" presName="node" presStyleLbl="node1" presStyleIdx="3" presStyleCnt="6">
        <dgm:presLayoutVars>
          <dgm:bulletEnabled val="1"/>
        </dgm:presLayoutVars>
      </dgm:prSet>
      <dgm:spPr/>
    </dgm:pt>
    <dgm:pt modelId="{F1CA4A69-6564-459F-AA7E-2BB2F15D74D1}" type="pres">
      <dgm:prSet presAssocID="{D671445A-C4C2-40D0-8569-EB3796B003E9}" presName="sibTrans" presStyleCnt="0"/>
      <dgm:spPr/>
    </dgm:pt>
    <dgm:pt modelId="{1F149603-872A-4E7C-8F99-341873593DB3}" type="pres">
      <dgm:prSet presAssocID="{2405F436-5AB9-4EE7-AF83-0655C14C2DDB}" presName="node" presStyleLbl="node1" presStyleIdx="4" presStyleCnt="6">
        <dgm:presLayoutVars>
          <dgm:bulletEnabled val="1"/>
        </dgm:presLayoutVars>
      </dgm:prSet>
      <dgm:spPr/>
    </dgm:pt>
    <dgm:pt modelId="{0EBADA59-7B6C-432C-93F8-47E0A72DF6AA}" type="pres">
      <dgm:prSet presAssocID="{390C3506-9129-4DC1-9698-D41C93F9F92E}" presName="sibTrans" presStyleCnt="0"/>
      <dgm:spPr/>
    </dgm:pt>
    <dgm:pt modelId="{7D5CE624-757B-40F4-8159-0B7EE5A0DE93}" type="pres">
      <dgm:prSet presAssocID="{F8AC39A2-16A7-4386-986C-2CFFEEB8ABCE}" presName="node" presStyleLbl="node1" presStyleIdx="5" presStyleCnt="6">
        <dgm:presLayoutVars>
          <dgm:bulletEnabled val="1"/>
        </dgm:presLayoutVars>
      </dgm:prSet>
      <dgm:spPr/>
    </dgm:pt>
  </dgm:ptLst>
  <dgm:cxnLst>
    <dgm:cxn modelId="{ADB6E701-BCB0-4BD0-B9DE-946AFD80D117}" srcId="{72B144E6-D949-4E13-91B8-44C679D54359}" destId="{104B48D5-CEE0-4BF9-A917-7AA8691A867B}" srcOrd="0" destOrd="0" parTransId="{D1D7101F-4E5D-4840-8147-0588CFD8232D}" sibTransId="{380F6D13-8DFF-4691-A2A7-65C2F99CE32C}"/>
    <dgm:cxn modelId="{99ED7008-232A-4DE9-9BD5-96963ABE2D66}" type="presOf" srcId="{E6EF54DE-3261-4B89-AC39-CCAF4ADE487D}" destId="{C74C92D6-8014-4E1D-9165-76DF4C5E6A84}" srcOrd="0" destOrd="0" presId="urn:microsoft.com/office/officeart/2005/8/layout/default"/>
    <dgm:cxn modelId="{2FA0C50D-AE4B-4232-A195-679C88A2EC68}" srcId="{72B144E6-D949-4E13-91B8-44C679D54359}" destId="{E6EF54DE-3261-4B89-AC39-CCAF4ADE487D}" srcOrd="1" destOrd="0" parTransId="{1A2DC477-06E7-4A2E-A7E3-3598C8E0E7D0}" sibTransId="{2F90BA95-561B-420D-A217-5A8D2324C524}"/>
    <dgm:cxn modelId="{B4D43A62-749D-4078-A561-4FAB855EAB4F}" type="presOf" srcId="{72B144E6-D949-4E13-91B8-44C679D54359}" destId="{234A540B-5F8B-438C-AA06-4B951EB04D01}" srcOrd="0" destOrd="0" presId="urn:microsoft.com/office/officeart/2005/8/layout/default"/>
    <dgm:cxn modelId="{5D4D276D-758D-433A-8AB3-4022FD91A14C}" srcId="{72B144E6-D949-4E13-91B8-44C679D54359}" destId="{DC62D462-80F2-4BCA-A65D-1434534AE0F5}" srcOrd="2" destOrd="0" parTransId="{0F90FB3C-FAC7-49CF-B38B-BC4629C3590E}" sibTransId="{453F7E31-12EC-420E-BDC3-553A3E820043}"/>
    <dgm:cxn modelId="{B7C85A81-4EB6-47E4-9F09-DE87E661A430}" srcId="{72B144E6-D949-4E13-91B8-44C679D54359}" destId="{2BC8DBF8-7FC5-466D-9C72-7AA9C85AB96C}" srcOrd="3" destOrd="0" parTransId="{290F7836-957E-4D2C-BF6C-59AC3CBE71B7}" sibTransId="{D671445A-C4C2-40D0-8569-EB3796B003E9}"/>
    <dgm:cxn modelId="{A8D13391-15CA-4114-9EBC-81B06AEC7DE5}" type="presOf" srcId="{104B48D5-CEE0-4BF9-A917-7AA8691A867B}" destId="{8B58023E-5379-4E43-8D5C-BDFB7061ED99}" srcOrd="0" destOrd="0" presId="urn:microsoft.com/office/officeart/2005/8/layout/default"/>
    <dgm:cxn modelId="{66AB1D99-5B24-48C2-84D6-B24B888D4021}" srcId="{72B144E6-D949-4E13-91B8-44C679D54359}" destId="{F8AC39A2-16A7-4386-986C-2CFFEEB8ABCE}" srcOrd="5" destOrd="0" parTransId="{D18AEB16-C23B-47D0-A1ED-5D52CA886B32}" sibTransId="{CD648EA4-3068-46E5-A79C-21D13F4D1EAF}"/>
    <dgm:cxn modelId="{F25C1CAC-71A1-484B-94FC-AAA45ADF3FA8}" type="presOf" srcId="{2405F436-5AB9-4EE7-AF83-0655C14C2DDB}" destId="{1F149603-872A-4E7C-8F99-341873593DB3}" srcOrd="0" destOrd="0" presId="urn:microsoft.com/office/officeart/2005/8/layout/default"/>
    <dgm:cxn modelId="{5CB6ABB2-C144-404F-92EA-8A7F229E3240}" type="presOf" srcId="{DC62D462-80F2-4BCA-A65D-1434534AE0F5}" destId="{66311983-4D89-46B6-8ACF-DE2D1AA6A44E}" srcOrd="0" destOrd="0" presId="urn:microsoft.com/office/officeart/2005/8/layout/default"/>
    <dgm:cxn modelId="{5E3D1EBE-8AEE-48A2-901A-18D831CC81D3}" type="presOf" srcId="{F8AC39A2-16A7-4386-986C-2CFFEEB8ABCE}" destId="{7D5CE624-757B-40F4-8159-0B7EE5A0DE93}" srcOrd="0" destOrd="0" presId="urn:microsoft.com/office/officeart/2005/8/layout/default"/>
    <dgm:cxn modelId="{1C27CDFE-0619-4F70-9FC6-F87BFF35132D}" type="presOf" srcId="{2BC8DBF8-7FC5-466D-9C72-7AA9C85AB96C}" destId="{75123E70-C1E2-4C1F-8147-91166157351C}" srcOrd="0" destOrd="0" presId="urn:microsoft.com/office/officeart/2005/8/layout/default"/>
    <dgm:cxn modelId="{A5CBD8FF-3C8C-45C0-901A-0E2E72C4B3DA}" srcId="{72B144E6-D949-4E13-91B8-44C679D54359}" destId="{2405F436-5AB9-4EE7-AF83-0655C14C2DDB}" srcOrd="4" destOrd="0" parTransId="{14B1C3D5-AEFF-44A9-9F9F-CDDBADEC0766}" sibTransId="{390C3506-9129-4DC1-9698-D41C93F9F92E}"/>
    <dgm:cxn modelId="{E99FBD0F-41B2-418B-B48F-AA5AFD5A3C30}" type="presParOf" srcId="{234A540B-5F8B-438C-AA06-4B951EB04D01}" destId="{8B58023E-5379-4E43-8D5C-BDFB7061ED99}" srcOrd="0" destOrd="0" presId="urn:microsoft.com/office/officeart/2005/8/layout/default"/>
    <dgm:cxn modelId="{C75EFF47-133D-4260-970F-443E708A901A}" type="presParOf" srcId="{234A540B-5F8B-438C-AA06-4B951EB04D01}" destId="{577A4C86-3C95-4190-BE08-61EBEEF82BF3}" srcOrd="1" destOrd="0" presId="urn:microsoft.com/office/officeart/2005/8/layout/default"/>
    <dgm:cxn modelId="{10F4D28F-AA33-43C1-ABAB-B434A8F07612}" type="presParOf" srcId="{234A540B-5F8B-438C-AA06-4B951EB04D01}" destId="{C74C92D6-8014-4E1D-9165-76DF4C5E6A84}" srcOrd="2" destOrd="0" presId="urn:microsoft.com/office/officeart/2005/8/layout/default"/>
    <dgm:cxn modelId="{47CFC581-D51F-4066-B249-8C8CDA3EF096}" type="presParOf" srcId="{234A540B-5F8B-438C-AA06-4B951EB04D01}" destId="{08BA9004-0ED5-4FF9-98E0-1EB590CDDDDE}" srcOrd="3" destOrd="0" presId="urn:microsoft.com/office/officeart/2005/8/layout/default"/>
    <dgm:cxn modelId="{9B485E7B-1660-4C43-BF68-23ABA9056936}" type="presParOf" srcId="{234A540B-5F8B-438C-AA06-4B951EB04D01}" destId="{66311983-4D89-46B6-8ACF-DE2D1AA6A44E}" srcOrd="4" destOrd="0" presId="urn:microsoft.com/office/officeart/2005/8/layout/default"/>
    <dgm:cxn modelId="{07588178-7045-42AC-8108-CAF6203B2D6B}" type="presParOf" srcId="{234A540B-5F8B-438C-AA06-4B951EB04D01}" destId="{1C140366-9DC3-4391-BF47-661EC0A41A1B}" srcOrd="5" destOrd="0" presId="urn:microsoft.com/office/officeart/2005/8/layout/default"/>
    <dgm:cxn modelId="{D6C291B4-F48F-4C7B-A9E0-949A6FCB7BF2}" type="presParOf" srcId="{234A540B-5F8B-438C-AA06-4B951EB04D01}" destId="{75123E70-C1E2-4C1F-8147-91166157351C}" srcOrd="6" destOrd="0" presId="urn:microsoft.com/office/officeart/2005/8/layout/default"/>
    <dgm:cxn modelId="{3F9A8C7F-1ED6-462F-B354-5134FACF8948}" type="presParOf" srcId="{234A540B-5F8B-438C-AA06-4B951EB04D01}" destId="{F1CA4A69-6564-459F-AA7E-2BB2F15D74D1}" srcOrd="7" destOrd="0" presId="urn:microsoft.com/office/officeart/2005/8/layout/default"/>
    <dgm:cxn modelId="{FD438771-092F-4654-BE5C-9E97830DDA7E}" type="presParOf" srcId="{234A540B-5F8B-438C-AA06-4B951EB04D01}" destId="{1F149603-872A-4E7C-8F99-341873593DB3}" srcOrd="8" destOrd="0" presId="urn:microsoft.com/office/officeart/2005/8/layout/default"/>
    <dgm:cxn modelId="{3FE60C27-A7AB-429B-8321-6D298F6AF171}" type="presParOf" srcId="{234A540B-5F8B-438C-AA06-4B951EB04D01}" destId="{0EBADA59-7B6C-432C-93F8-47E0A72DF6AA}" srcOrd="9" destOrd="0" presId="urn:microsoft.com/office/officeart/2005/8/layout/default"/>
    <dgm:cxn modelId="{9A6ECD74-2CBB-4036-AD28-8B7168CF8AF6}" type="presParOf" srcId="{234A540B-5F8B-438C-AA06-4B951EB04D01}" destId="{7D5CE624-757B-40F4-8159-0B7EE5A0DE93}"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504C359-E0D3-4C33-8AB3-CD9A85DBEA0F}"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EF4D33AB-9844-4910-BBD7-A474E511167E}">
      <dgm:prSet custT="1"/>
      <dgm:spPr/>
      <dgm:t>
        <a:bodyPr/>
        <a:lstStyle/>
        <a:p>
          <a:r>
            <a:rPr lang="en-US" sz="2400" baseline="0" dirty="0"/>
            <a:t>Single-column Indexing</a:t>
          </a:r>
          <a:endParaRPr lang="en-US" sz="2400" dirty="0"/>
        </a:p>
      </dgm:t>
    </dgm:pt>
    <dgm:pt modelId="{5429BB5E-843F-4306-BFEF-DAE57EDD703A}" type="parTrans" cxnId="{B07474C3-5D39-489F-BEF3-084C0A4ED5BE}">
      <dgm:prSet/>
      <dgm:spPr/>
      <dgm:t>
        <a:bodyPr/>
        <a:lstStyle/>
        <a:p>
          <a:endParaRPr lang="en-US"/>
        </a:p>
      </dgm:t>
    </dgm:pt>
    <dgm:pt modelId="{A4D3EC46-9142-4AE2-B398-4158D1D200AC}" type="sibTrans" cxnId="{B07474C3-5D39-489F-BEF3-084C0A4ED5BE}">
      <dgm:prSet/>
      <dgm:spPr/>
      <dgm:t>
        <a:bodyPr/>
        <a:lstStyle/>
        <a:p>
          <a:endParaRPr lang="en-US"/>
        </a:p>
      </dgm:t>
    </dgm:pt>
    <dgm:pt modelId="{2AEFEEF0-8D12-4CC9-9985-FC1BDCA688D3}">
      <dgm:prSet custT="1"/>
      <dgm:spPr/>
      <dgm:t>
        <a:bodyPr/>
        <a:lstStyle/>
        <a:p>
          <a:r>
            <a:rPr lang="en-US" sz="2400" baseline="0" dirty="0"/>
            <a:t>Good choice for columns that are highly selective, or columns referenced often by criteria.</a:t>
          </a:r>
          <a:endParaRPr lang="en-US" sz="2400" dirty="0"/>
        </a:p>
      </dgm:t>
    </dgm:pt>
    <dgm:pt modelId="{A68C7234-A514-460E-BFF5-3E4794E20D92}" type="parTrans" cxnId="{83AC1A7A-E885-4A51-8AA2-61EAC81E985C}">
      <dgm:prSet/>
      <dgm:spPr/>
      <dgm:t>
        <a:bodyPr/>
        <a:lstStyle/>
        <a:p>
          <a:endParaRPr lang="en-US"/>
        </a:p>
      </dgm:t>
    </dgm:pt>
    <dgm:pt modelId="{7ACA89F0-7A60-4D42-8560-47F254540AFC}" type="sibTrans" cxnId="{83AC1A7A-E885-4A51-8AA2-61EAC81E985C}">
      <dgm:prSet/>
      <dgm:spPr/>
      <dgm:t>
        <a:bodyPr/>
        <a:lstStyle/>
        <a:p>
          <a:endParaRPr lang="en-US"/>
        </a:p>
      </dgm:t>
    </dgm:pt>
    <dgm:pt modelId="{C3B0405E-9DDC-4692-806B-1786A1DA1941}">
      <dgm:prSet custT="1"/>
      <dgm:spPr/>
      <dgm:t>
        <a:bodyPr/>
        <a:lstStyle/>
        <a:p>
          <a:r>
            <a:rPr lang="en-US" sz="2400" baseline="0" dirty="0"/>
            <a:t>Multi-Column Indexing</a:t>
          </a:r>
          <a:endParaRPr lang="en-US" sz="2400" dirty="0"/>
        </a:p>
      </dgm:t>
    </dgm:pt>
    <dgm:pt modelId="{95540714-4247-423D-910C-9AB77BFC96CB}" type="parTrans" cxnId="{6FB96911-2512-4931-BDDA-A6DA20AE9E03}">
      <dgm:prSet/>
      <dgm:spPr/>
      <dgm:t>
        <a:bodyPr/>
        <a:lstStyle/>
        <a:p>
          <a:endParaRPr lang="en-US"/>
        </a:p>
      </dgm:t>
    </dgm:pt>
    <dgm:pt modelId="{0AA48AF5-0D86-497E-A3F7-2FEF9B8B5F05}" type="sibTrans" cxnId="{6FB96911-2512-4931-BDDA-A6DA20AE9E03}">
      <dgm:prSet/>
      <dgm:spPr/>
      <dgm:t>
        <a:bodyPr/>
        <a:lstStyle/>
        <a:p>
          <a:endParaRPr lang="en-US"/>
        </a:p>
      </dgm:t>
    </dgm:pt>
    <dgm:pt modelId="{DD1BCA2E-9E12-481C-A1EC-1CFDC72747AD}">
      <dgm:prSet custT="1"/>
      <dgm:spPr/>
      <dgm:t>
        <a:bodyPr/>
        <a:lstStyle/>
        <a:p>
          <a:r>
            <a:rPr lang="en-US" sz="2400" baseline="0"/>
            <a:t>Good choice for low cardinality columns.</a:t>
          </a:r>
          <a:endParaRPr lang="en-US" sz="2400"/>
        </a:p>
      </dgm:t>
    </dgm:pt>
    <dgm:pt modelId="{591FE55F-1318-4AD2-A262-C0281FB44FE0}" type="parTrans" cxnId="{338995EE-AD7A-4CCC-A814-9AE0B3F16B7D}">
      <dgm:prSet/>
      <dgm:spPr/>
      <dgm:t>
        <a:bodyPr/>
        <a:lstStyle/>
        <a:p>
          <a:endParaRPr lang="en-US"/>
        </a:p>
      </dgm:t>
    </dgm:pt>
    <dgm:pt modelId="{C76C9A87-655F-44A4-922A-D7DD41CF4EF9}" type="sibTrans" cxnId="{338995EE-AD7A-4CCC-A814-9AE0B3F16B7D}">
      <dgm:prSet/>
      <dgm:spPr/>
      <dgm:t>
        <a:bodyPr/>
        <a:lstStyle/>
        <a:p>
          <a:endParaRPr lang="en-US"/>
        </a:p>
      </dgm:t>
    </dgm:pt>
    <dgm:pt modelId="{B8BCC0DA-D604-4864-8D41-A19CE62FE47E}">
      <dgm:prSet custT="1"/>
      <dgm:spPr/>
      <dgm:t>
        <a:bodyPr/>
        <a:lstStyle/>
        <a:p>
          <a:r>
            <a:rPr lang="en-US" sz="2400" baseline="0"/>
            <a:t>Highest cardinality field first, to zoom into a narrow range of the B-Tree as quickly as possible.</a:t>
          </a:r>
          <a:endParaRPr lang="en-US" sz="2400"/>
        </a:p>
      </dgm:t>
    </dgm:pt>
    <dgm:pt modelId="{CD2A7F2D-9874-42F8-AC78-F320479B6928}" type="parTrans" cxnId="{2EE2BDDD-32C8-49D6-8DF7-024F83DD12AD}">
      <dgm:prSet/>
      <dgm:spPr/>
      <dgm:t>
        <a:bodyPr/>
        <a:lstStyle/>
        <a:p>
          <a:endParaRPr lang="en-US"/>
        </a:p>
      </dgm:t>
    </dgm:pt>
    <dgm:pt modelId="{53FD8DEC-D1BF-4485-8B0F-9582ECD29071}" type="sibTrans" cxnId="{2EE2BDDD-32C8-49D6-8DF7-024F83DD12AD}">
      <dgm:prSet/>
      <dgm:spPr/>
      <dgm:t>
        <a:bodyPr/>
        <a:lstStyle/>
        <a:p>
          <a:endParaRPr lang="en-US"/>
        </a:p>
      </dgm:t>
    </dgm:pt>
    <dgm:pt modelId="{4DAF58BF-3473-4729-8E42-BA98FCB4AF5D}">
      <dgm:prSet custT="1"/>
      <dgm:spPr/>
      <dgm:t>
        <a:bodyPr/>
        <a:lstStyle/>
        <a:p>
          <a:r>
            <a:rPr lang="en-US" sz="2400" baseline="0"/>
            <a:t>Equality columns before inequality columns.</a:t>
          </a:r>
          <a:endParaRPr lang="en-US" sz="2400"/>
        </a:p>
      </dgm:t>
    </dgm:pt>
    <dgm:pt modelId="{5D6EFAD0-0656-4DC6-9A88-71C99739F6F0}" type="parTrans" cxnId="{9B6B413B-CF34-47C4-A4B1-0FE1F917D660}">
      <dgm:prSet/>
      <dgm:spPr/>
      <dgm:t>
        <a:bodyPr/>
        <a:lstStyle/>
        <a:p>
          <a:endParaRPr lang="en-US"/>
        </a:p>
      </dgm:t>
    </dgm:pt>
    <dgm:pt modelId="{033B9391-BD93-4757-94B4-5F70E6412710}" type="sibTrans" cxnId="{9B6B413B-CF34-47C4-A4B1-0FE1F917D660}">
      <dgm:prSet/>
      <dgm:spPr/>
      <dgm:t>
        <a:bodyPr/>
        <a:lstStyle/>
        <a:p>
          <a:endParaRPr lang="en-US"/>
        </a:p>
      </dgm:t>
    </dgm:pt>
    <dgm:pt modelId="{692747C0-CA52-4CDF-890F-FCCD0B2CBFC2}">
      <dgm:prSet custT="1"/>
      <dgm:spPr/>
      <dgm:t>
        <a:bodyPr/>
        <a:lstStyle/>
        <a:p>
          <a:r>
            <a:rPr lang="en-US" sz="2400" dirty="0"/>
            <a:t>When filtering data from table with multiple single column indexes, SQL uses the index with higher cardinality column</a:t>
          </a:r>
          <a:r>
            <a:rPr lang="en-US" sz="2400" baseline="0" dirty="0"/>
            <a:t>, it may be better to not index the low cardinality column.</a:t>
          </a:r>
          <a:endParaRPr lang="en-US" sz="2400" dirty="0"/>
        </a:p>
      </dgm:t>
    </dgm:pt>
    <dgm:pt modelId="{3C858099-6234-4E0F-A1E7-CE201B83C911}" type="parTrans" cxnId="{A0138377-21F0-46FD-A048-FAA2D208E353}">
      <dgm:prSet/>
      <dgm:spPr/>
    </dgm:pt>
    <dgm:pt modelId="{B4C9E0A1-7F35-4828-9403-9DDC49361C0A}" type="sibTrans" cxnId="{A0138377-21F0-46FD-A048-FAA2D208E353}">
      <dgm:prSet/>
      <dgm:spPr/>
    </dgm:pt>
    <dgm:pt modelId="{D74C0164-3724-4B59-82FA-A89D5C14D8CA}" type="pres">
      <dgm:prSet presAssocID="{F504C359-E0D3-4C33-8AB3-CD9A85DBEA0F}" presName="Name0" presStyleCnt="0">
        <dgm:presLayoutVars>
          <dgm:dir/>
          <dgm:animLvl val="lvl"/>
          <dgm:resizeHandles val="exact"/>
        </dgm:presLayoutVars>
      </dgm:prSet>
      <dgm:spPr/>
    </dgm:pt>
    <dgm:pt modelId="{7A83818C-08EF-4742-9E34-3CE9A3EE7DF0}" type="pres">
      <dgm:prSet presAssocID="{EF4D33AB-9844-4910-BBD7-A474E511167E}" presName="composite" presStyleCnt="0"/>
      <dgm:spPr/>
    </dgm:pt>
    <dgm:pt modelId="{0B3BB9FA-3BE2-434C-99E8-DDC76578CD48}" type="pres">
      <dgm:prSet presAssocID="{EF4D33AB-9844-4910-BBD7-A474E511167E}" presName="parTx" presStyleLbl="alignNode1" presStyleIdx="0" presStyleCnt="2">
        <dgm:presLayoutVars>
          <dgm:chMax val="0"/>
          <dgm:chPref val="0"/>
          <dgm:bulletEnabled val="1"/>
        </dgm:presLayoutVars>
      </dgm:prSet>
      <dgm:spPr/>
    </dgm:pt>
    <dgm:pt modelId="{FE2C7C66-CDAF-4895-9759-8C87FBBD1B44}" type="pres">
      <dgm:prSet presAssocID="{EF4D33AB-9844-4910-BBD7-A474E511167E}" presName="desTx" presStyleLbl="alignAccFollowNode1" presStyleIdx="0" presStyleCnt="2">
        <dgm:presLayoutVars>
          <dgm:bulletEnabled val="1"/>
        </dgm:presLayoutVars>
      </dgm:prSet>
      <dgm:spPr/>
    </dgm:pt>
    <dgm:pt modelId="{A2946DF0-6179-407F-8558-079C92C1E4BB}" type="pres">
      <dgm:prSet presAssocID="{A4D3EC46-9142-4AE2-B398-4158D1D200AC}" presName="space" presStyleCnt="0"/>
      <dgm:spPr/>
    </dgm:pt>
    <dgm:pt modelId="{F8427983-FD79-4FEA-AB17-C322FD23DB13}" type="pres">
      <dgm:prSet presAssocID="{C3B0405E-9DDC-4692-806B-1786A1DA1941}" presName="composite" presStyleCnt="0"/>
      <dgm:spPr/>
    </dgm:pt>
    <dgm:pt modelId="{C6F2A52F-A18E-4511-AF8C-7363517072EA}" type="pres">
      <dgm:prSet presAssocID="{C3B0405E-9DDC-4692-806B-1786A1DA1941}" presName="parTx" presStyleLbl="alignNode1" presStyleIdx="1" presStyleCnt="2">
        <dgm:presLayoutVars>
          <dgm:chMax val="0"/>
          <dgm:chPref val="0"/>
          <dgm:bulletEnabled val="1"/>
        </dgm:presLayoutVars>
      </dgm:prSet>
      <dgm:spPr/>
    </dgm:pt>
    <dgm:pt modelId="{0E5986F9-200B-4045-9FD8-97D9D189DAE5}" type="pres">
      <dgm:prSet presAssocID="{C3B0405E-9DDC-4692-806B-1786A1DA1941}" presName="desTx" presStyleLbl="alignAccFollowNode1" presStyleIdx="1" presStyleCnt="2">
        <dgm:presLayoutVars>
          <dgm:bulletEnabled val="1"/>
        </dgm:presLayoutVars>
      </dgm:prSet>
      <dgm:spPr/>
    </dgm:pt>
  </dgm:ptLst>
  <dgm:cxnLst>
    <dgm:cxn modelId="{6FB96911-2512-4931-BDDA-A6DA20AE9E03}" srcId="{F504C359-E0D3-4C33-8AB3-CD9A85DBEA0F}" destId="{C3B0405E-9DDC-4692-806B-1786A1DA1941}" srcOrd="1" destOrd="0" parTransId="{95540714-4247-423D-910C-9AB77BFC96CB}" sibTransId="{0AA48AF5-0D86-497E-A3F7-2FEF9B8B5F05}"/>
    <dgm:cxn modelId="{5B07BE2A-114A-4C97-B501-BF5C4D7E906B}" type="presOf" srcId="{C3B0405E-9DDC-4692-806B-1786A1DA1941}" destId="{C6F2A52F-A18E-4511-AF8C-7363517072EA}" srcOrd="0" destOrd="0" presId="urn:microsoft.com/office/officeart/2005/8/layout/hList1"/>
    <dgm:cxn modelId="{9B6B413B-CF34-47C4-A4B1-0FE1F917D660}" srcId="{C3B0405E-9DDC-4692-806B-1786A1DA1941}" destId="{4DAF58BF-3473-4729-8E42-BA98FCB4AF5D}" srcOrd="2" destOrd="0" parTransId="{5D6EFAD0-0656-4DC6-9A88-71C99739F6F0}" sibTransId="{033B9391-BD93-4757-94B4-5F70E6412710}"/>
    <dgm:cxn modelId="{31C5C03E-E03C-4205-8216-350D87498DE6}" type="presOf" srcId="{4DAF58BF-3473-4729-8E42-BA98FCB4AF5D}" destId="{0E5986F9-200B-4045-9FD8-97D9D189DAE5}" srcOrd="0" destOrd="2" presId="urn:microsoft.com/office/officeart/2005/8/layout/hList1"/>
    <dgm:cxn modelId="{EDB46B5B-E768-464F-B598-1E0726355D2A}" type="presOf" srcId="{DD1BCA2E-9E12-481C-A1EC-1CFDC72747AD}" destId="{0E5986F9-200B-4045-9FD8-97D9D189DAE5}" srcOrd="0" destOrd="0" presId="urn:microsoft.com/office/officeart/2005/8/layout/hList1"/>
    <dgm:cxn modelId="{A0138377-21F0-46FD-A048-FAA2D208E353}" srcId="{EF4D33AB-9844-4910-BBD7-A474E511167E}" destId="{692747C0-CA52-4CDF-890F-FCCD0B2CBFC2}" srcOrd="1" destOrd="0" parTransId="{3C858099-6234-4E0F-A1E7-CE201B83C911}" sibTransId="{B4C9E0A1-7F35-4828-9403-9DDC49361C0A}"/>
    <dgm:cxn modelId="{83AC1A7A-E885-4A51-8AA2-61EAC81E985C}" srcId="{EF4D33AB-9844-4910-BBD7-A474E511167E}" destId="{2AEFEEF0-8D12-4CC9-9985-FC1BDCA688D3}" srcOrd="0" destOrd="0" parTransId="{A68C7234-A514-460E-BFF5-3E4794E20D92}" sibTransId="{7ACA89F0-7A60-4D42-8560-47F254540AFC}"/>
    <dgm:cxn modelId="{2C61785A-264F-48FC-8722-965FECA43B89}" type="presOf" srcId="{692747C0-CA52-4CDF-890F-FCCD0B2CBFC2}" destId="{FE2C7C66-CDAF-4895-9759-8C87FBBD1B44}" srcOrd="0" destOrd="1" presId="urn:microsoft.com/office/officeart/2005/8/layout/hList1"/>
    <dgm:cxn modelId="{2822058C-D22A-410A-A85B-63A79A62FA5C}" type="presOf" srcId="{2AEFEEF0-8D12-4CC9-9985-FC1BDCA688D3}" destId="{FE2C7C66-CDAF-4895-9759-8C87FBBD1B44}" srcOrd="0" destOrd="0" presId="urn:microsoft.com/office/officeart/2005/8/layout/hList1"/>
    <dgm:cxn modelId="{50205790-2259-481F-B02B-E65497E33782}" type="presOf" srcId="{B8BCC0DA-D604-4864-8D41-A19CE62FE47E}" destId="{0E5986F9-200B-4045-9FD8-97D9D189DAE5}" srcOrd="0" destOrd="1" presId="urn:microsoft.com/office/officeart/2005/8/layout/hList1"/>
    <dgm:cxn modelId="{B07474C3-5D39-489F-BEF3-084C0A4ED5BE}" srcId="{F504C359-E0D3-4C33-8AB3-CD9A85DBEA0F}" destId="{EF4D33AB-9844-4910-BBD7-A474E511167E}" srcOrd="0" destOrd="0" parTransId="{5429BB5E-843F-4306-BFEF-DAE57EDD703A}" sibTransId="{A4D3EC46-9142-4AE2-B398-4158D1D200AC}"/>
    <dgm:cxn modelId="{FD3BD3CE-70AC-4386-88AA-FB95DD2CDE2A}" type="presOf" srcId="{EF4D33AB-9844-4910-BBD7-A474E511167E}" destId="{0B3BB9FA-3BE2-434C-99E8-DDC76578CD48}" srcOrd="0" destOrd="0" presId="urn:microsoft.com/office/officeart/2005/8/layout/hList1"/>
    <dgm:cxn modelId="{2EE2BDDD-32C8-49D6-8DF7-024F83DD12AD}" srcId="{C3B0405E-9DDC-4692-806B-1786A1DA1941}" destId="{B8BCC0DA-D604-4864-8D41-A19CE62FE47E}" srcOrd="1" destOrd="0" parTransId="{CD2A7F2D-9874-42F8-AC78-F320479B6928}" sibTransId="{53FD8DEC-D1BF-4485-8B0F-9582ECD29071}"/>
    <dgm:cxn modelId="{338995EE-AD7A-4CCC-A814-9AE0B3F16B7D}" srcId="{C3B0405E-9DDC-4692-806B-1786A1DA1941}" destId="{DD1BCA2E-9E12-481C-A1EC-1CFDC72747AD}" srcOrd="0" destOrd="0" parTransId="{591FE55F-1318-4AD2-A262-C0281FB44FE0}" sibTransId="{C76C9A87-655F-44A4-922A-D7DD41CF4EF9}"/>
    <dgm:cxn modelId="{F9D02CFD-40B1-45FD-8D22-D6EBA207BE23}" type="presOf" srcId="{F504C359-E0D3-4C33-8AB3-CD9A85DBEA0F}" destId="{D74C0164-3724-4B59-82FA-A89D5C14D8CA}" srcOrd="0" destOrd="0" presId="urn:microsoft.com/office/officeart/2005/8/layout/hList1"/>
    <dgm:cxn modelId="{44996B05-B225-4E09-84D5-FEE3E9B28812}" type="presParOf" srcId="{D74C0164-3724-4B59-82FA-A89D5C14D8CA}" destId="{7A83818C-08EF-4742-9E34-3CE9A3EE7DF0}" srcOrd="0" destOrd="0" presId="urn:microsoft.com/office/officeart/2005/8/layout/hList1"/>
    <dgm:cxn modelId="{7FE84E0B-7305-474F-8A01-EF3FE5F8CCE2}" type="presParOf" srcId="{7A83818C-08EF-4742-9E34-3CE9A3EE7DF0}" destId="{0B3BB9FA-3BE2-434C-99E8-DDC76578CD48}" srcOrd="0" destOrd="0" presId="urn:microsoft.com/office/officeart/2005/8/layout/hList1"/>
    <dgm:cxn modelId="{D9EA53FB-99F6-4ECE-8F50-6D53ACC84686}" type="presParOf" srcId="{7A83818C-08EF-4742-9E34-3CE9A3EE7DF0}" destId="{FE2C7C66-CDAF-4895-9759-8C87FBBD1B44}" srcOrd="1" destOrd="0" presId="urn:microsoft.com/office/officeart/2005/8/layout/hList1"/>
    <dgm:cxn modelId="{A4BE949A-3C93-4A7D-9D18-2AD63498DDBB}" type="presParOf" srcId="{D74C0164-3724-4B59-82FA-A89D5C14D8CA}" destId="{A2946DF0-6179-407F-8558-079C92C1E4BB}" srcOrd="1" destOrd="0" presId="urn:microsoft.com/office/officeart/2005/8/layout/hList1"/>
    <dgm:cxn modelId="{61EB697B-FDB9-4CAD-9AFE-F934830FF6D0}" type="presParOf" srcId="{D74C0164-3724-4B59-82FA-A89D5C14D8CA}" destId="{F8427983-FD79-4FEA-AB17-C322FD23DB13}" srcOrd="2" destOrd="0" presId="urn:microsoft.com/office/officeart/2005/8/layout/hList1"/>
    <dgm:cxn modelId="{B0DC1D03-A04C-4FB3-B82C-CBFF9DFC4834}" type="presParOf" srcId="{F8427983-FD79-4FEA-AB17-C322FD23DB13}" destId="{C6F2A52F-A18E-4511-AF8C-7363517072EA}" srcOrd="0" destOrd="0" presId="urn:microsoft.com/office/officeart/2005/8/layout/hList1"/>
    <dgm:cxn modelId="{E7BB3DAF-B1D9-4F48-A1C6-5D2F11C23160}" type="presParOf" srcId="{F8427983-FD79-4FEA-AB17-C322FD23DB13}" destId="{0E5986F9-200B-4045-9FD8-97D9D189DAE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1DF4E1C-23D7-4781-B3ED-F41170FF8188}" type="doc">
      <dgm:prSet loTypeId="urn:microsoft.com/office/officeart/2005/8/layout/vList6" loCatId="list" qsTypeId="urn:microsoft.com/office/officeart/2005/8/quickstyle/simple1" qsCatId="simple" csTypeId="urn:microsoft.com/office/officeart/2005/8/colors/accent0_3" csCatId="mainScheme" phldr="1"/>
      <dgm:spPr/>
      <dgm:t>
        <a:bodyPr/>
        <a:lstStyle/>
        <a:p>
          <a:endParaRPr lang="en-US"/>
        </a:p>
      </dgm:t>
    </dgm:pt>
    <dgm:pt modelId="{4BBAB887-33C7-4B63-BADF-DDAB70B18E5B}">
      <dgm:prSet custT="1"/>
      <dgm:spPr/>
      <dgm:t>
        <a:bodyPr/>
        <a:lstStyle/>
        <a:p>
          <a:r>
            <a:rPr lang="en-US" sz="2000" baseline="0" dirty="0"/>
            <a:t>Seek only happens if you search for the columns in the specified order of how the B-tree is organized.</a:t>
          </a:r>
          <a:endParaRPr lang="en-US" sz="2000" dirty="0"/>
        </a:p>
      </dgm:t>
    </dgm:pt>
    <dgm:pt modelId="{5F85CE4B-1709-4876-87B8-6726423D4AB5}" type="parTrans" cxnId="{878614A6-F683-4365-867D-F65E403C7C63}">
      <dgm:prSet/>
      <dgm:spPr/>
      <dgm:t>
        <a:bodyPr/>
        <a:lstStyle/>
        <a:p>
          <a:endParaRPr lang="en-US"/>
        </a:p>
      </dgm:t>
    </dgm:pt>
    <dgm:pt modelId="{E6443D43-078B-41CF-ADD6-ED0EBC105DCD}" type="sibTrans" cxnId="{878614A6-F683-4365-867D-F65E403C7C63}">
      <dgm:prSet/>
      <dgm:spPr/>
      <dgm:t>
        <a:bodyPr/>
        <a:lstStyle/>
        <a:p>
          <a:endParaRPr lang="en-US"/>
        </a:p>
      </dgm:t>
    </dgm:pt>
    <dgm:pt modelId="{24A2CE4D-E036-4A90-AEBF-E3A86F6C55E1}">
      <dgm:prSet custT="1"/>
      <dgm:spPr/>
      <dgm:t>
        <a:bodyPr/>
        <a:lstStyle/>
        <a:p>
          <a:r>
            <a:rPr lang="en-US" sz="2000" baseline="0" dirty="0"/>
            <a:t>Effect of column in different WHERE clause.</a:t>
          </a:r>
          <a:endParaRPr lang="en-US" sz="2000" dirty="0"/>
        </a:p>
      </dgm:t>
    </dgm:pt>
    <dgm:pt modelId="{5A877494-CB19-4BEC-AB01-B36D41B364EE}" type="parTrans" cxnId="{B7632F9D-B714-4F7A-98A6-E08A38293300}">
      <dgm:prSet/>
      <dgm:spPr/>
      <dgm:t>
        <a:bodyPr/>
        <a:lstStyle/>
        <a:p>
          <a:endParaRPr lang="en-US"/>
        </a:p>
      </dgm:t>
    </dgm:pt>
    <dgm:pt modelId="{12BC68E8-DB29-4B28-825E-C814B24F8C0D}" type="sibTrans" cxnId="{B7632F9D-B714-4F7A-98A6-E08A38293300}">
      <dgm:prSet/>
      <dgm:spPr/>
      <dgm:t>
        <a:bodyPr/>
        <a:lstStyle/>
        <a:p>
          <a:endParaRPr lang="en-US"/>
        </a:p>
      </dgm:t>
    </dgm:pt>
    <dgm:pt modelId="{D58E6CF1-92D8-4FCA-BAB1-530AD51FF9FE}">
      <dgm:prSet/>
      <dgm:spPr/>
      <dgm:t>
        <a:bodyPr/>
        <a:lstStyle/>
        <a:p>
          <a:r>
            <a:rPr lang="en-US" baseline="0" dirty="0">
              <a:solidFill>
                <a:srgbClr val="0A1FE4"/>
              </a:solidFill>
            </a:rPr>
            <a:t>WHERE</a:t>
          </a:r>
          <a:r>
            <a:rPr lang="en-US" baseline="0" dirty="0"/>
            <a:t> </a:t>
          </a:r>
          <a:r>
            <a:rPr lang="en-US" baseline="0" dirty="0" err="1"/>
            <a:t>StateID</a:t>
          </a:r>
          <a:r>
            <a:rPr lang="en-US" baseline="0" dirty="0"/>
            <a:t> = 79 </a:t>
          </a:r>
          <a:r>
            <a:rPr lang="en-US" baseline="0" dirty="0">
              <a:solidFill>
                <a:schemeClr val="accent4"/>
              </a:solidFill>
            </a:rPr>
            <a:t>-- seek</a:t>
          </a:r>
          <a:endParaRPr lang="en-US" dirty="0">
            <a:solidFill>
              <a:schemeClr val="accent4"/>
            </a:solidFill>
          </a:endParaRPr>
        </a:p>
      </dgm:t>
    </dgm:pt>
    <dgm:pt modelId="{3614229C-38F1-40F6-A05A-0367F26FF4A6}" type="parTrans" cxnId="{7C253561-ADF1-4223-AFAE-717421374CD6}">
      <dgm:prSet/>
      <dgm:spPr/>
      <dgm:t>
        <a:bodyPr/>
        <a:lstStyle/>
        <a:p>
          <a:endParaRPr lang="en-US"/>
        </a:p>
      </dgm:t>
    </dgm:pt>
    <dgm:pt modelId="{A34D69FC-C2B2-44C5-A80D-C1F0C2F151D1}" type="sibTrans" cxnId="{7C253561-ADF1-4223-AFAE-717421374CD6}">
      <dgm:prSet/>
      <dgm:spPr/>
      <dgm:t>
        <a:bodyPr/>
        <a:lstStyle/>
        <a:p>
          <a:endParaRPr lang="en-US"/>
        </a:p>
      </dgm:t>
    </dgm:pt>
    <dgm:pt modelId="{2ECF5319-7D56-416E-B526-360890EA995C}">
      <dgm:prSet/>
      <dgm:spPr/>
      <dgm:t>
        <a:bodyPr/>
        <a:lstStyle/>
        <a:p>
          <a:r>
            <a:rPr lang="en-US" baseline="0" dirty="0">
              <a:solidFill>
                <a:srgbClr val="0A1FE4"/>
              </a:solidFill>
            </a:rPr>
            <a:t>WHERE</a:t>
          </a:r>
          <a:r>
            <a:rPr lang="en-US" baseline="0" dirty="0"/>
            <a:t> </a:t>
          </a:r>
          <a:r>
            <a:rPr lang="en-US" baseline="0" dirty="0" err="1"/>
            <a:t>StateID</a:t>
          </a:r>
          <a:r>
            <a:rPr lang="en-US" baseline="0" dirty="0"/>
            <a:t> = 79 </a:t>
          </a:r>
          <a:r>
            <a:rPr lang="en-US" baseline="0" dirty="0">
              <a:solidFill>
                <a:schemeClr val="accent4"/>
              </a:solidFill>
            </a:rPr>
            <a:t>– seek </a:t>
          </a:r>
          <a:r>
            <a:rPr lang="en-US" baseline="0" dirty="0">
              <a:solidFill>
                <a:schemeClr val="bg1">
                  <a:lumMod val="50000"/>
                </a:schemeClr>
              </a:solidFill>
            </a:rPr>
            <a:t>AND</a:t>
          </a:r>
          <a:r>
            <a:rPr lang="en-US" baseline="0" dirty="0"/>
            <a:t> City = Bothell </a:t>
          </a:r>
          <a:r>
            <a:rPr lang="en-US" baseline="0" dirty="0">
              <a:solidFill>
                <a:schemeClr val="accent4"/>
              </a:solidFill>
            </a:rPr>
            <a:t>-- seek</a:t>
          </a:r>
          <a:endParaRPr lang="en-US" dirty="0">
            <a:solidFill>
              <a:schemeClr val="accent4"/>
            </a:solidFill>
          </a:endParaRPr>
        </a:p>
      </dgm:t>
    </dgm:pt>
    <dgm:pt modelId="{C5FF7442-844C-4D83-80D5-CF36401ADCE3}" type="parTrans" cxnId="{E480142D-EBC5-4509-9385-120D8B563197}">
      <dgm:prSet/>
      <dgm:spPr/>
      <dgm:t>
        <a:bodyPr/>
        <a:lstStyle/>
        <a:p>
          <a:endParaRPr lang="en-US"/>
        </a:p>
      </dgm:t>
    </dgm:pt>
    <dgm:pt modelId="{A6C25A87-F9E8-493F-A7BB-E971369BC990}" type="sibTrans" cxnId="{E480142D-EBC5-4509-9385-120D8B563197}">
      <dgm:prSet/>
      <dgm:spPr/>
      <dgm:t>
        <a:bodyPr/>
        <a:lstStyle/>
        <a:p>
          <a:endParaRPr lang="en-US"/>
        </a:p>
      </dgm:t>
    </dgm:pt>
    <dgm:pt modelId="{C129FE2B-6481-4E6F-93BC-94EC96AF2DCF}">
      <dgm:prSet/>
      <dgm:spPr/>
      <dgm:t>
        <a:bodyPr/>
        <a:lstStyle/>
        <a:p>
          <a:r>
            <a:rPr lang="en-US" baseline="0" dirty="0">
              <a:solidFill>
                <a:srgbClr val="0A1FE4"/>
              </a:solidFill>
            </a:rPr>
            <a:t>WHERE</a:t>
          </a:r>
          <a:r>
            <a:rPr lang="en-US" baseline="0" dirty="0"/>
            <a:t> </a:t>
          </a:r>
          <a:r>
            <a:rPr lang="en-US" baseline="0" dirty="0" err="1"/>
            <a:t>StateID</a:t>
          </a:r>
          <a:r>
            <a:rPr lang="en-US" baseline="0" dirty="0"/>
            <a:t> = 79 </a:t>
          </a:r>
          <a:r>
            <a:rPr lang="en-US" baseline="0" dirty="0">
              <a:solidFill>
                <a:schemeClr val="bg1">
                  <a:lumMod val="50000"/>
                </a:schemeClr>
              </a:solidFill>
            </a:rPr>
            <a:t>AND</a:t>
          </a:r>
          <a:r>
            <a:rPr lang="en-US" baseline="0" dirty="0"/>
            <a:t> </a:t>
          </a:r>
          <a:r>
            <a:rPr lang="en-US" baseline="0" dirty="0" err="1"/>
            <a:t>PostalCode</a:t>
          </a:r>
          <a:r>
            <a:rPr lang="en-US" baseline="0" dirty="0"/>
            <a:t> = 98011 </a:t>
          </a:r>
          <a:r>
            <a:rPr lang="en-US" baseline="0" dirty="0">
              <a:solidFill>
                <a:schemeClr val="accent4"/>
              </a:solidFill>
            </a:rPr>
            <a:t>-- seek then scan </a:t>
          </a:r>
          <a:endParaRPr lang="en-US" dirty="0">
            <a:solidFill>
              <a:schemeClr val="accent4"/>
            </a:solidFill>
          </a:endParaRPr>
        </a:p>
      </dgm:t>
    </dgm:pt>
    <dgm:pt modelId="{318C0D62-C978-487A-AEB7-55AFDA4BCD31}" type="parTrans" cxnId="{848C697A-2872-4D09-9D52-9CA64FD3ED50}">
      <dgm:prSet/>
      <dgm:spPr/>
      <dgm:t>
        <a:bodyPr/>
        <a:lstStyle/>
        <a:p>
          <a:endParaRPr lang="en-US"/>
        </a:p>
      </dgm:t>
    </dgm:pt>
    <dgm:pt modelId="{C93E53C7-9D16-46BC-BA19-28D2426D1E06}" type="sibTrans" cxnId="{848C697A-2872-4D09-9D52-9CA64FD3ED50}">
      <dgm:prSet/>
      <dgm:spPr/>
      <dgm:t>
        <a:bodyPr/>
        <a:lstStyle/>
        <a:p>
          <a:endParaRPr lang="en-US"/>
        </a:p>
      </dgm:t>
    </dgm:pt>
    <dgm:pt modelId="{A8B24AA0-7FF6-4742-9D1A-850A82984117}">
      <dgm:prSet/>
      <dgm:spPr/>
      <dgm:t>
        <a:bodyPr/>
        <a:lstStyle/>
        <a:p>
          <a:r>
            <a:rPr lang="en-US" baseline="0" dirty="0">
              <a:solidFill>
                <a:srgbClr val="0A1FE4"/>
              </a:solidFill>
            </a:rPr>
            <a:t>WHERE</a:t>
          </a:r>
          <a:r>
            <a:rPr lang="en-US" baseline="0" dirty="0"/>
            <a:t> </a:t>
          </a:r>
          <a:r>
            <a:rPr lang="en-US" baseline="0" dirty="0" err="1"/>
            <a:t>PostalCode</a:t>
          </a:r>
          <a:r>
            <a:rPr lang="en-US" baseline="0" dirty="0"/>
            <a:t> = 98011 </a:t>
          </a:r>
          <a:r>
            <a:rPr lang="en-US" baseline="0" dirty="0">
              <a:solidFill>
                <a:schemeClr val="accent4"/>
              </a:solidFill>
            </a:rPr>
            <a:t>-- scan</a:t>
          </a:r>
          <a:endParaRPr lang="en-US" dirty="0">
            <a:solidFill>
              <a:schemeClr val="accent4"/>
            </a:solidFill>
          </a:endParaRPr>
        </a:p>
      </dgm:t>
    </dgm:pt>
    <dgm:pt modelId="{A4BAE53E-5B42-413A-9317-1016D73D3E78}" type="parTrans" cxnId="{0211C8D6-7CF7-45E6-9F6E-53FF1DE5881F}">
      <dgm:prSet/>
      <dgm:spPr/>
      <dgm:t>
        <a:bodyPr/>
        <a:lstStyle/>
        <a:p>
          <a:endParaRPr lang="en-US"/>
        </a:p>
      </dgm:t>
    </dgm:pt>
    <dgm:pt modelId="{56485906-92F9-4FA0-9DF7-3D32DABE680D}" type="sibTrans" cxnId="{0211C8D6-7CF7-45E6-9F6E-53FF1DE5881F}">
      <dgm:prSet/>
      <dgm:spPr/>
      <dgm:t>
        <a:bodyPr/>
        <a:lstStyle/>
        <a:p>
          <a:endParaRPr lang="en-US"/>
        </a:p>
      </dgm:t>
    </dgm:pt>
    <dgm:pt modelId="{E3C7C65A-8783-49A4-8A2E-5E80061BFAEE}">
      <dgm:prSet/>
      <dgm:spPr/>
      <dgm:t>
        <a:bodyPr/>
        <a:lstStyle/>
        <a:p>
          <a:pPr>
            <a:buNone/>
          </a:pPr>
          <a:endParaRPr lang="en-US" sz="2000" dirty="0"/>
        </a:p>
      </dgm:t>
    </dgm:pt>
    <dgm:pt modelId="{16364019-A98C-4E26-A533-A61A0F73A5C0}" type="parTrans" cxnId="{6DD55095-D80A-4FE2-BC8A-5EF0EF7DE2E9}">
      <dgm:prSet/>
      <dgm:spPr/>
      <dgm:t>
        <a:bodyPr/>
        <a:lstStyle/>
        <a:p>
          <a:endParaRPr lang="en-US"/>
        </a:p>
      </dgm:t>
    </dgm:pt>
    <dgm:pt modelId="{CC7F4B7A-86F7-4958-9073-9EEBD48E133F}" type="sibTrans" cxnId="{6DD55095-D80A-4FE2-BC8A-5EF0EF7DE2E9}">
      <dgm:prSet/>
      <dgm:spPr/>
      <dgm:t>
        <a:bodyPr/>
        <a:lstStyle/>
        <a:p>
          <a:endParaRPr lang="en-US"/>
        </a:p>
      </dgm:t>
    </dgm:pt>
    <dgm:pt modelId="{1B1C9F8E-73BE-47B3-923E-9B094069EAC6}">
      <dgm:prSet/>
      <dgm:spPr/>
      <dgm:t>
        <a:bodyPr/>
        <a:lstStyle/>
        <a:p>
          <a:pPr>
            <a:buNone/>
          </a:pPr>
          <a:r>
            <a:rPr lang="en-US" sz="2000" dirty="0"/>
            <a:t> </a:t>
          </a:r>
          <a:r>
            <a:rPr lang="en-US" sz="2000" baseline="0" dirty="0"/>
            <a:t> </a:t>
          </a:r>
          <a:endParaRPr lang="en-US" sz="2000" dirty="0"/>
        </a:p>
      </dgm:t>
    </dgm:pt>
    <dgm:pt modelId="{10D79157-F2C2-4C78-B5E1-94F340DCC4D4}" type="parTrans" cxnId="{50DF90BE-CA90-4769-9B6B-1A558DD00059}">
      <dgm:prSet/>
      <dgm:spPr/>
      <dgm:t>
        <a:bodyPr/>
        <a:lstStyle/>
        <a:p>
          <a:endParaRPr lang="en-US"/>
        </a:p>
      </dgm:t>
    </dgm:pt>
    <dgm:pt modelId="{C43B6917-CCC6-4C60-9F2E-C875B02383B0}" type="sibTrans" cxnId="{50DF90BE-CA90-4769-9B6B-1A558DD00059}">
      <dgm:prSet/>
      <dgm:spPr/>
      <dgm:t>
        <a:bodyPr/>
        <a:lstStyle/>
        <a:p>
          <a:endParaRPr lang="en-US"/>
        </a:p>
      </dgm:t>
    </dgm:pt>
    <dgm:pt modelId="{2E79069D-A155-447D-92DB-60376E8E0A17}">
      <dgm:prSet/>
      <dgm:spPr/>
      <dgm:t>
        <a:bodyPr/>
        <a:lstStyle/>
        <a:p>
          <a:pPr>
            <a:buNone/>
          </a:pPr>
          <a:r>
            <a:rPr lang="en-US" sz="2000" baseline="0" dirty="0"/>
            <a:t>	</a:t>
          </a:r>
          <a:r>
            <a:rPr lang="en-US" sz="2400" baseline="0" dirty="0">
              <a:solidFill>
                <a:srgbClr val="0A1FE4"/>
              </a:solidFill>
            </a:rPr>
            <a:t>CREATE INDEX </a:t>
          </a:r>
          <a:r>
            <a:rPr lang="en-US" sz="2400" baseline="0" dirty="0"/>
            <a:t>IX1 </a:t>
          </a:r>
          <a:r>
            <a:rPr lang="en-US" sz="2400" baseline="0" dirty="0">
              <a:solidFill>
                <a:srgbClr val="0A1FE4"/>
              </a:solidFill>
            </a:rPr>
            <a:t>ON TABLE </a:t>
          </a:r>
          <a:r>
            <a:rPr lang="en-US" sz="2400" baseline="0" dirty="0"/>
            <a:t>(</a:t>
          </a:r>
          <a:r>
            <a:rPr lang="en-US" sz="2400" baseline="0" dirty="0" err="1"/>
            <a:t>StateID</a:t>
          </a:r>
          <a:r>
            <a:rPr lang="en-US" sz="2400" baseline="0" dirty="0"/>
            <a:t>, City, </a:t>
          </a:r>
          <a:r>
            <a:rPr lang="en-US" sz="2400" baseline="0" dirty="0" err="1"/>
            <a:t>PostalCode</a:t>
          </a:r>
          <a:r>
            <a:rPr lang="en-US" sz="2400" baseline="0" dirty="0"/>
            <a:t>)</a:t>
          </a:r>
          <a:endParaRPr lang="en-US" sz="2000" dirty="0"/>
        </a:p>
      </dgm:t>
    </dgm:pt>
    <dgm:pt modelId="{B9E0C61A-CCC0-49E6-93C1-659CAF586805}" type="parTrans" cxnId="{BB85654A-875A-4BD4-AFEA-6786EADD2B55}">
      <dgm:prSet/>
      <dgm:spPr/>
      <dgm:t>
        <a:bodyPr/>
        <a:lstStyle/>
        <a:p>
          <a:endParaRPr lang="en-US"/>
        </a:p>
      </dgm:t>
    </dgm:pt>
    <dgm:pt modelId="{B9503EAC-A0A9-402D-BE8B-29658F8C3F13}" type="sibTrans" cxnId="{BB85654A-875A-4BD4-AFEA-6786EADD2B55}">
      <dgm:prSet/>
      <dgm:spPr/>
      <dgm:t>
        <a:bodyPr/>
        <a:lstStyle/>
        <a:p>
          <a:endParaRPr lang="en-US"/>
        </a:p>
      </dgm:t>
    </dgm:pt>
    <dgm:pt modelId="{C3B3B913-4373-4CB1-A8C3-406C9B1775F0}" type="pres">
      <dgm:prSet presAssocID="{11DF4E1C-23D7-4781-B3ED-F41170FF8188}" presName="Name0" presStyleCnt="0">
        <dgm:presLayoutVars>
          <dgm:dir/>
          <dgm:animLvl val="lvl"/>
          <dgm:resizeHandles/>
        </dgm:presLayoutVars>
      </dgm:prSet>
      <dgm:spPr/>
    </dgm:pt>
    <dgm:pt modelId="{D0D6A3A1-C718-418B-9F92-D0D01C204B3A}" type="pres">
      <dgm:prSet presAssocID="{4BBAB887-33C7-4B63-BADF-DDAB70B18E5B}" presName="linNode" presStyleCnt="0"/>
      <dgm:spPr/>
    </dgm:pt>
    <dgm:pt modelId="{4ABF60CD-2ECA-4851-82A4-094AB17608A3}" type="pres">
      <dgm:prSet presAssocID="{4BBAB887-33C7-4B63-BADF-DDAB70B18E5B}" presName="parentShp" presStyleLbl="node1" presStyleIdx="0" presStyleCnt="2" custScaleX="55604" custLinFactNeighborX="-10058">
        <dgm:presLayoutVars>
          <dgm:bulletEnabled val="1"/>
        </dgm:presLayoutVars>
      </dgm:prSet>
      <dgm:spPr/>
    </dgm:pt>
    <dgm:pt modelId="{51EF8AA3-6FA0-4755-AA6E-C5BC8AE4F574}" type="pres">
      <dgm:prSet presAssocID="{4BBAB887-33C7-4B63-BADF-DDAB70B18E5B}" presName="childShp" presStyleLbl="bgAccFollowNode1" presStyleIdx="0" presStyleCnt="2" custScaleX="134309">
        <dgm:presLayoutVars>
          <dgm:bulletEnabled val="1"/>
        </dgm:presLayoutVars>
      </dgm:prSet>
      <dgm:spPr/>
    </dgm:pt>
    <dgm:pt modelId="{37A8739D-FC93-42C0-ACD2-66E2BACB9967}" type="pres">
      <dgm:prSet presAssocID="{E6443D43-078B-41CF-ADD6-ED0EBC105DCD}" presName="spacing" presStyleCnt="0"/>
      <dgm:spPr/>
    </dgm:pt>
    <dgm:pt modelId="{286036E0-E568-4689-8F9F-1B63EA1B264C}" type="pres">
      <dgm:prSet presAssocID="{24A2CE4D-E036-4A90-AEBF-E3A86F6C55E1}" presName="linNode" presStyleCnt="0"/>
      <dgm:spPr/>
    </dgm:pt>
    <dgm:pt modelId="{2F27A988-C430-4343-AFC6-121B747947E2}" type="pres">
      <dgm:prSet presAssocID="{24A2CE4D-E036-4A90-AEBF-E3A86F6C55E1}" presName="parentShp" presStyleLbl="node1" presStyleIdx="1" presStyleCnt="2" custScaleX="55472" custLinFactNeighborX="-12956" custLinFactNeighborY="-2290">
        <dgm:presLayoutVars>
          <dgm:bulletEnabled val="1"/>
        </dgm:presLayoutVars>
      </dgm:prSet>
      <dgm:spPr/>
    </dgm:pt>
    <dgm:pt modelId="{6155D189-BFBB-4B9F-8D31-913BF9BA760D}" type="pres">
      <dgm:prSet presAssocID="{24A2CE4D-E036-4A90-AEBF-E3A86F6C55E1}" presName="childShp" presStyleLbl="bgAccFollowNode1" presStyleIdx="1" presStyleCnt="2" custScaleX="133163" custScaleY="102905">
        <dgm:presLayoutVars>
          <dgm:bulletEnabled val="1"/>
        </dgm:presLayoutVars>
      </dgm:prSet>
      <dgm:spPr/>
    </dgm:pt>
  </dgm:ptLst>
  <dgm:cxnLst>
    <dgm:cxn modelId="{1CF7AF00-F57A-4C29-8101-68E9BD05E4B1}" type="presOf" srcId="{11DF4E1C-23D7-4781-B3ED-F41170FF8188}" destId="{C3B3B913-4373-4CB1-A8C3-406C9B1775F0}" srcOrd="0" destOrd="0" presId="urn:microsoft.com/office/officeart/2005/8/layout/vList6"/>
    <dgm:cxn modelId="{34324505-317A-45F3-9468-90EC5027BE98}" type="presOf" srcId="{4BBAB887-33C7-4B63-BADF-DDAB70B18E5B}" destId="{4ABF60CD-2ECA-4851-82A4-094AB17608A3}" srcOrd="0" destOrd="0" presId="urn:microsoft.com/office/officeart/2005/8/layout/vList6"/>
    <dgm:cxn modelId="{F1825310-AE1E-413E-95AD-F6393C999642}" type="presOf" srcId="{2E79069D-A155-447D-92DB-60376E8E0A17}" destId="{51EF8AA3-6FA0-4755-AA6E-C5BC8AE4F574}" srcOrd="0" destOrd="2" presId="urn:microsoft.com/office/officeart/2005/8/layout/vList6"/>
    <dgm:cxn modelId="{8F210F13-8B98-4765-817F-FEE7B6ED2C22}" type="presOf" srcId="{1B1C9F8E-73BE-47B3-923E-9B094069EAC6}" destId="{51EF8AA3-6FA0-4755-AA6E-C5BC8AE4F574}" srcOrd="0" destOrd="1" presId="urn:microsoft.com/office/officeart/2005/8/layout/vList6"/>
    <dgm:cxn modelId="{E480142D-EBC5-4509-9385-120D8B563197}" srcId="{24A2CE4D-E036-4A90-AEBF-E3A86F6C55E1}" destId="{2ECF5319-7D56-416E-B526-360890EA995C}" srcOrd="1" destOrd="0" parTransId="{C5FF7442-844C-4D83-80D5-CF36401ADCE3}" sibTransId="{A6C25A87-F9E8-493F-A7BB-E971369BC990}"/>
    <dgm:cxn modelId="{7A007C36-4473-432F-ABDD-4E946BECCCED}" type="presOf" srcId="{C129FE2B-6481-4E6F-93BC-94EC96AF2DCF}" destId="{6155D189-BFBB-4B9F-8D31-913BF9BA760D}" srcOrd="0" destOrd="2" presId="urn:microsoft.com/office/officeart/2005/8/layout/vList6"/>
    <dgm:cxn modelId="{7C253561-ADF1-4223-AFAE-717421374CD6}" srcId="{24A2CE4D-E036-4A90-AEBF-E3A86F6C55E1}" destId="{D58E6CF1-92D8-4FCA-BAB1-530AD51FF9FE}" srcOrd="0" destOrd="0" parTransId="{3614229C-38F1-40F6-A05A-0367F26FF4A6}" sibTransId="{A34D69FC-C2B2-44C5-A80D-C1F0C2F151D1}"/>
    <dgm:cxn modelId="{D5A68743-3B7D-4279-9169-CFD53C5D9AD5}" type="presOf" srcId="{D58E6CF1-92D8-4FCA-BAB1-530AD51FF9FE}" destId="{6155D189-BFBB-4B9F-8D31-913BF9BA760D}" srcOrd="0" destOrd="0" presId="urn:microsoft.com/office/officeart/2005/8/layout/vList6"/>
    <dgm:cxn modelId="{BB85654A-875A-4BD4-AFEA-6786EADD2B55}" srcId="{4BBAB887-33C7-4B63-BADF-DDAB70B18E5B}" destId="{2E79069D-A155-447D-92DB-60376E8E0A17}" srcOrd="2" destOrd="0" parTransId="{B9E0C61A-CCC0-49E6-93C1-659CAF586805}" sibTransId="{B9503EAC-A0A9-402D-BE8B-29658F8C3F13}"/>
    <dgm:cxn modelId="{848C697A-2872-4D09-9D52-9CA64FD3ED50}" srcId="{24A2CE4D-E036-4A90-AEBF-E3A86F6C55E1}" destId="{C129FE2B-6481-4E6F-93BC-94EC96AF2DCF}" srcOrd="2" destOrd="0" parTransId="{318C0D62-C978-487A-AEB7-55AFDA4BCD31}" sibTransId="{C93E53C7-9D16-46BC-BA19-28D2426D1E06}"/>
    <dgm:cxn modelId="{79A0088A-59B7-495E-AD65-1586C76B80C5}" type="presOf" srcId="{2ECF5319-7D56-416E-B526-360890EA995C}" destId="{6155D189-BFBB-4B9F-8D31-913BF9BA760D}" srcOrd="0" destOrd="1" presId="urn:microsoft.com/office/officeart/2005/8/layout/vList6"/>
    <dgm:cxn modelId="{6DD55095-D80A-4FE2-BC8A-5EF0EF7DE2E9}" srcId="{4BBAB887-33C7-4B63-BADF-DDAB70B18E5B}" destId="{E3C7C65A-8783-49A4-8A2E-5E80061BFAEE}" srcOrd="0" destOrd="0" parTransId="{16364019-A98C-4E26-A533-A61A0F73A5C0}" sibTransId="{CC7F4B7A-86F7-4958-9073-9EEBD48E133F}"/>
    <dgm:cxn modelId="{B7632F9D-B714-4F7A-98A6-E08A38293300}" srcId="{11DF4E1C-23D7-4781-B3ED-F41170FF8188}" destId="{24A2CE4D-E036-4A90-AEBF-E3A86F6C55E1}" srcOrd="1" destOrd="0" parTransId="{5A877494-CB19-4BEC-AB01-B36D41B364EE}" sibTransId="{12BC68E8-DB29-4B28-825E-C814B24F8C0D}"/>
    <dgm:cxn modelId="{878614A6-F683-4365-867D-F65E403C7C63}" srcId="{11DF4E1C-23D7-4781-B3ED-F41170FF8188}" destId="{4BBAB887-33C7-4B63-BADF-DDAB70B18E5B}" srcOrd="0" destOrd="0" parTransId="{5F85CE4B-1709-4876-87B8-6726423D4AB5}" sibTransId="{E6443D43-078B-41CF-ADD6-ED0EBC105DCD}"/>
    <dgm:cxn modelId="{50DF90BE-CA90-4769-9B6B-1A558DD00059}" srcId="{4BBAB887-33C7-4B63-BADF-DDAB70B18E5B}" destId="{1B1C9F8E-73BE-47B3-923E-9B094069EAC6}" srcOrd="1" destOrd="0" parTransId="{10D79157-F2C2-4C78-B5E1-94F340DCC4D4}" sibTransId="{C43B6917-CCC6-4C60-9F2E-C875B02383B0}"/>
    <dgm:cxn modelId="{1ECDE2C0-454C-41F8-B600-05AFE5EDA75C}" type="presOf" srcId="{E3C7C65A-8783-49A4-8A2E-5E80061BFAEE}" destId="{51EF8AA3-6FA0-4755-AA6E-C5BC8AE4F574}" srcOrd="0" destOrd="0" presId="urn:microsoft.com/office/officeart/2005/8/layout/vList6"/>
    <dgm:cxn modelId="{0211C8D6-7CF7-45E6-9F6E-53FF1DE5881F}" srcId="{24A2CE4D-E036-4A90-AEBF-E3A86F6C55E1}" destId="{A8B24AA0-7FF6-4742-9D1A-850A82984117}" srcOrd="3" destOrd="0" parTransId="{A4BAE53E-5B42-413A-9317-1016D73D3E78}" sibTransId="{56485906-92F9-4FA0-9DF7-3D32DABE680D}"/>
    <dgm:cxn modelId="{219015E6-3495-460B-8BD9-ECAD4F352EBB}" type="presOf" srcId="{24A2CE4D-E036-4A90-AEBF-E3A86F6C55E1}" destId="{2F27A988-C430-4343-AFC6-121B747947E2}" srcOrd="0" destOrd="0" presId="urn:microsoft.com/office/officeart/2005/8/layout/vList6"/>
    <dgm:cxn modelId="{BA1A75EC-E0F2-4CFB-9CD2-7E021FCB3543}" type="presOf" srcId="{A8B24AA0-7FF6-4742-9D1A-850A82984117}" destId="{6155D189-BFBB-4B9F-8D31-913BF9BA760D}" srcOrd="0" destOrd="3" presId="urn:microsoft.com/office/officeart/2005/8/layout/vList6"/>
    <dgm:cxn modelId="{19F71CD5-F7FF-44AB-B71C-A3C367BEDDEA}" type="presParOf" srcId="{C3B3B913-4373-4CB1-A8C3-406C9B1775F0}" destId="{D0D6A3A1-C718-418B-9F92-D0D01C204B3A}" srcOrd="0" destOrd="0" presId="urn:microsoft.com/office/officeart/2005/8/layout/vList6"/>
    <dgm:cxn modelId="{6C647B22-A7DC-488E-8A18-C85297CF4B69}" type="presParOf" srcId="{D0D6A3A1-C718-418B-9F92-D0D01C204B3A}" destId="{4ABF60CD-2ECA-4851-82A4-094AB17608A3}" srcOrd="0" destOrd="0" presId="urn:microsoft.com/office/officeart/2005/8/layout/vList6"/>
    <dgm:cxn modelId="{CD75D5A0-2FFA-4531-B8DE-0DE08761BE3B}" type="presParOf" srcId="{D0D6A3A1-C718-418B-9F92-D0D01C204B3A}" destId="{51EF8AA3-6FA0-4755-AA6E-C5BC8AE4F574}" srcOrd="1" destOrd="0" presId="urn:microsoft.com/office/officeart/2005/8/layout/vList6"/>
    <dgm:cxn modelId="{D1DB9F01-E4B4-4631-9E5B-3D70601A3F10}" type="presParOf" srcId="{C3B3B913-4373-4CB1-A8C3-406C9B1775F0}" destId="{37A8739D-FC93-42C0-ACD2-66E2BACB9967}" srcOrd="1" destOrd="0" presId="urn:microsoft.com/office/officeart/2005/8/layout/vList6"/>
    <dgm:cxn modelId="{DC88FB99-3618-409E-8B09-24E93E9D77A5}" type="presParOf" srcId="{C3B3B913-4373-4CB1-A8C3-406C9B1775F0}" destId="{286036E0-E568-4689-8F9F-1B63EA1B264C}" srcOrd="2" destOrd="0" presId="urn:microsoft.com/office/officeart/2005/8/layout/vList6"/>
    <dgm:cxn modelId="{9294701D-C3E9-45A9-B0FF-0CE989E21817}" type="presParOf" srcId="{286036E0-E568-4689-8F9F-1B63EA1B264C}" destId="{2F27A988-C430-4343-AFC6-121B747947E2}" srcOrd="0" destOrd="0" presId="urn:microsoft.com/office/officeart/2005/8/layout/vList6"/>
    <dgm:cxn modelId="{12BD3A41-EEB8-4DAC-8942-DEDF221A8244}" type="presParOf" srcId="{286036E0-E568-4689-8F9F-1B63EA1B264C}" destId="{6155D189-BFBB-4B9F-8D31-913BF9BA760D}"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22BFC72-AED9-4856-AD95-E27E377214E5}"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818C7C8B-9AD2-4D96-9136-75D7F2B87843}">
      <dgm:prSet custT="1"/>
      <dgm:spPr/>
      <dgm:t>
        <a:bodyPr/>
        <a:lstStyle/>
        <a:p>
          <a:r>
            <a:rPr lang="en-US" sz="2400" baseline="0"/>
            <a:t>Data access and distribution changes over time.</a:t>
          </a:r>
          <a:endParaRPr lang="en-US" sz="2400"/>
        </a:p>
      </dgm:t>
    </dgm:pt>
    <dgm:pt modelId="{B965B95E-379C-4FBB-AACF-F4F891D83541}" type="parTrans" cxnId="{A183B404-F2F9-44E8-B161-2507831EE0E5}">
      <dgm:prSet/>
      <dgm:spPr/>
      <dgm:t>
        <a:bodyPr/>
        <a:lstStyle/>
        <a:p>
          <a:endParaRPr lang="en-US"/>
        </a:p>
      </dgm:t>
    </dgm:pt>
    <dgm:pt modelId="{27EC045D-386D-43A3-B46F-5ECE1FA42486}" type="sibTrans" cxnId="{A183B404-F2F9-44E8-B161-2507831EE0E5}">
      <dgm:prSet/>
      <dgm:spPr/>
      <dgm:t>
        <a:bodyPr/>
        <a:lstStyle/>
        <a:p>
          <a:endParaRPr lang="en-US"/>
        </a:p>
      </dgm:t>
    </dgm:pt>
    <dgm:pt modelId="{452E1482-3E28-4549-956B-C79AC7683740}">
      <dgm:prSet custT="1"/>
      <dgm:spPr/>
      <dgm:t>
        <a:bodyPr/>
        <a:lstStyle/>
        <a:p>
          <a:r>
            <a:rPr lang="en-US" sz="2400" baseline="0"/>
            <a:t>By reviewing index usage, we can ensure that the indexes are appropriate for the current workload.</a:t>
          </a:r>
          <a:endParaRPr lang="en-US" sz="2400"/>
        </a:p>
      </dgm:t>
    </dgm:pt>
    <dgm:pt modelId="{4D4D81A1-60E0-42B2-9415-E4215F59FEA7}" type="parTrans" cxnId="{3E19F38C-E0EB-41D2-8AF0-70934CAE04CC}">
      <dgm:prSet/>
      <dgm:spPr/>
      <dgm:t>
        <a:bodyPr/>
        <a:lstStyle/>
        <a:p>
          <a:endParaRPr lang="en-US"/>
        </a:p>
      </dgm:t>
    </dgm:pt>
    <dgm:pt modelId="{DAFCD9D3-7DB1-4AA1-886C-07CA6116C444}" type="sibTrans" cxnId="{3E19F38C-E0EB-41D2-8AF0-70934CAE04CC}">
      <dgm:prSet/>
      <dgm:spPr/>
      <dgm:t>
        <a:bodyPr/>
        <a:lstStyle/>
        <a:p>
          <a:endParaRPr lang="en-US"/>
        </a:p>
      </dgm:t>
    </dgm:pt>
    <dgm:pt modelId="{A71F1EFB-757D-4DF5-8D6F-DD30DB3387C9}">
      <dgm:prSet custT="1"/>
      <dgm:spPr/>
      <dgm:t>
        <a:bodyPr/>
        <a:lstStyle/>
        <a:p>
          <a:r>
            <a:rPr lang="en-US" sz="2400" kern="1200" baseline="0">
              <a:latin typeface="Segoe UI"/>
              <a:ea typeface="+mn-ea"/>
              <a:cs typeface="+mn-cs"/>
            </a:rPr>
            <a:t>Use</a:t>
          </a:r>
          <a:r>
            <a:rPr lang="en-US" sz="2400" kern="1200" baseline="0"/>
            <a:t> </a:t>
          </a:r>
          <a:r>
            <a:rPr lang="en-US" sz="2400" kern="1200" baseline="0">
              <a:latin typeface="Segoe UI"/>
              <a:ea typeface="+mn-ea"/>
              <a:cs typeface="+mn-cs"/>
            </a:rPr>
            <a:t>sys.dm_db_index_usage_stats </a:t>
          </a:r>
          <a:r>
            <a:rPr lang="en-US" sz="2400" kern="1200" baseline="0"/>
            <a:t>and sys.dm_db_index_operational_stats to monitor index usage.</a:t>
          </a:r>
          <a:endParaRPr lang="en-US" sz="2400" kern="1200"/>
        </a:p>
      </dgm:t>
    </dgm:pt>
    <dgm:pt modelId="{0DB0367E-CE17-4DE4-A1A8-35D1E0EB5DB5}" type="parTrans" cxnId="{204D40BA-F3B7-4D82-B593-EF4E3DC19ACA}">
      <dgm:prSet/>
      <dgm:spPr/>
      <dgm:t>
        <a:bodyPr/>
        <a:lstStyle/>
        <a:p>
          <a:endParaRPr lang="en-US"/>
        </a:p>
      </dgm:t>
    </dgm:pt>
    <dgm:pt modelId="{813E3C1A-B685-41A2-AF52-A3754C03D981}" type="sibTrans" cxnId="{204D40BA-F3B7-4D82-B593-EF4E3DC19ACA}">
      <dgm:prSet/>
      <dgm:spPr/>
      <dgm:t>
        <a:bodyPr/>
        <a:lstStyle/>
        <a:p>
          <a:endParaRPr lang="en-US"/>
        </a:p>
      </dgm:t>
    </dgm:pt>
    <dgm:pt modelId="{8D25F543-1158-4D31-8D58-0E2A492DE7BB}">
      <dgm:prSet custT="1"/>
      <dgm:spPr/>
      <dgm:t>
        <a:bodyPr/>
        <a:lstStyle/>
        <a:p>
          <a:r>
            <a:rPr lang="en-US" sz="2400" baseline="0"/>
            <a:t>Database standard report also monitors Index usage and Physical Statistics. </a:t>
          </a:r>
          <a:endParaRPr lang="en-US" sz="2400"/>
        </a:p>
      </dgm:t>
    </dgm:pt>
    <dgm:pt modelId="{D16E75BB-734E-48A5-9572-1B6DA881BEF5}" type="parTrans" cxnId="{3F7B479D-3463-4F93-BA68-625855096B2A}">
      <dgm:prSet/>
      <dgm:spPr/>
      <dgm:t>
        <a:bodyPr/>
        <a:lstStyle/>
        <a:p>
          <a:endParaRPr lang="en-US"/>
        </a:p>
      </dgm:t>
    </dgm:pt>
    <dgm:pt modelId="{2BD26993-E137-4739-B2F3-1D00C76746B9}" type="sibTrans" cxnId="{3F7B479D-3463-4F93-BA68-625855096B2A}">
      <dgm:prSet/>
      <dgm:spPr/>
      <dgm:t>
        <a:bodyPr/>
        <a:lstStyle/>
        <a:p>
          <a:endParaRPr lang="en-US"/>
        </a:p>
      </dgm:t>
    </dgm:pt>
    <dgm:pt modelId="{242B0F13-631C-4016-B678-3FF7C8825159}" type="pres">
      <dgm:prSet presAssocID="{622BFC72-AED9-4856-AD95-E27E377214E5}" presName="linear" presStyleCnt="0">
        <dgm:presLayoutVars>
          <dgm:animLvl val="lvl"/>
          <dgm:resizeHandles val="exact"/>
        </dgm:presLayoutVars>
      </dgm:prSet>
      <dgm:spPr/>
    </dgm:pt>
    <dgm:pt modelId="{8602B1F8-B029-4B99-91A8-CE1E383A2315}" type="pres">
      <dgm:prSet presAssocID="{818C7C8B-9AD2-4D96-9136-75D7F2B87843}" presName="parentText" presStyleLbl="node1" presStyleIdx="0" presStyleCnt="4">
        <dgm:presLayoutVars>
          <dgm:chMax val="0"/>
          <dgm:bulletEnabled val="1"/>
        </dgm:presLayoutVars>
      </dgm:prSet>
      <dgm:spPr/>
    </dgm:pt>
    <dgm:pt modelId="{E8FCE056-10BB-4077-917B-663DB7D7B745}" type="pres">
      <dgm:prSet presAssocID="{27EC045D-386D-43A3-B46F-5ECE1FA42486}" presName="spacer" presStyleCnt="0"/>
      <dgm:spPr/>
    </dgm:pt>
    <dgm:pt modelId="{E6D86303-23A1-4B21-B6BC-134290A7CEFD}" type="pres">
      <dgm:prSet presAssocID="{452E1482-3E28-4549-956B-C79AC7683740}" presName="parentText" presStyleLbl="node1" presStyleIdx="1" presStyleCnt="4">
        <dgm:presLayoutVars>
          <dgm:chMax val="0"/>
          <dgm:bulletEnabled val="1"/>
        </dgm:presLayoutVars>
      </dgm:prSet>
      <dgm:spPr/>
    </dgm:pt>
    <dgm:pt modelId="{A76F5E30-2A55-4AF7-AE9B-B7E6A1F201D7}" type="pres">
      <dgm:prSet presAssocID="{DAFCD9D3-7DB1-4AA1-886C-07CA6116C444}" presName="spacer" presStyleCnt="0"/>
      <dgm:spPr/>
    </dgm:pt>
    <dgm:pt modelId="{26E70C0C-F5FD-49C3-8713-CCF302D4DD1F}" type="pres">
      <dgm:prSet presAssocID="{A71F1EFB-757D-4DF5-8D6F-DD30DB3387C9}" presName="parentText" presStyleLbl="node1" presStyleIdx="2" presStyleCnt="4">
        <dgm:presLayoutVars>
          <dgm:chMax val="0"/>
          <dgm:bulletEnabled val="1"/>
        </dgm:presLayoutVars>
      </dgm:prSet>
      <dgm:spPr/>
    </dgm:pt>
    <dgm:pt modelId="{29DF7871-5A89-456A-AFCB-8C8FBDB9E9BD}" type="pres">
      <dgm:prSet presAssocID="{813E3C1A-B685-41A2-AF52-A3754C03D981}" presName="spacer" presStyleCnt="0"/>
      <dgm:spPr/>
    </dgm:pt>
    <dgm:pt modelId="{BED7B686-B782-45EF-9B4E-6B0A8CF64E7E}" type="pres">
      <dgm:prSet presAssocID="{8D25F543-1158-4D31-8D58-0E2A492DE7BB}" presName="parentText" presStyleLbl="node1" presStyleIdx="3" presStyleCnt="4">
        <dgm:presLayoutVars>
          <dgm:chMax val="0"/>
          <dgm:bulletEnabled val="1"/>
        </dgm:presLayoutVars>
      </dgm:prSet>
      <dgm:spPr/>
    </dgm:pt>
  </dgm:ptLst>
  <dgm:cxnLst>
    <dgm:cxn modelId="{A183B404-F2F9-44E8-B161-2507831EE0E5}" srcId="{622BFC72-AED9-4856-AD95-E27E377214E5}" destId="{818C7C8B-9AD2-4D96-9136-75D7F2B87843}" srcOrd="0" destOrd="0" parTransId="{B965B95E-379C-4FBB-AACF-F4F891D83541}" sibTransId="{27EC045D-386D-43A3-B46F-5ECE1FA42486}"/>
    <dgm:cxn modelId="{5DBD870C-C9B5-4BD6-A2DF-FAA4BF28D85D}" type="presOf" srcId="{8D25F543-1158-4D31-8D58-0E2A492DE7BB}" destId="{BED7B686-B782-45EF-9B4E-6B0A8CF64E7E}" srcOrd="0" destOrd="0" presId="urn:microsoft.com/office/officeart/2005/8/layout/vList2"/>
    <dgm:cxn modelId="{8154B418-D062-4CEC-90BD-4E47F53F860E}" type="presOf" srcId="{622BFC72-AED9-4856-AD95-E27E377214E5}" destId="{242B0F13-631C-4016-B678-3FF7C8825159}" srcOrd="0" destOrd="0" presId="urn:microsoft.com/office/officeart/2005/8/layout/vList2"/>
    <dgm:cxn modelId="{0E35D53D-9472-49CF-9770-9B2C1DDBD0A4}" type="presOf" srcId="{452E1482-3E28-4549-956B-C79AC7683740}" destId="{E6D86303-23A1-4B21-B6BC-134290A7CEFD}" srcOrd="0" destOrd="0" presId="urn:microsoft.com/office/officeart/2005/8/layout/vList2"/>
    <dgm:cxn modelId="{81674A8C-91B7-485A-B75E-9FF43025774B}" type="presOf" srcId="{A71F1EFB-757D-4DF5-8D6F-DD30DB3387C9}" destId="{26E70C0C-F5FD-49C3-8713-CCF302D4DD1F}" srcOrd="0" destOrd="0" presId="urn:microsoft.com/office/officeart/2005/8/layout/vList2"/>
    <dgm:cxn modelId="{3E19F38C-E0EB-41D2-8AF0-70934CAE04CC}" srcId="{622BFC72-AED9-4856-AD95-E27E377214E5}" destId="{452E1482-3E28-4549-956B-C79AC7683740}" srcOrd="1" destOrd="0" parTransId="{4D4D81A1-60E0-42B2-9415-E4215F59FEA7}" sibTransId="{DAFCD9D3-7DB1-4AA1-886C-07CA6116C444}"/>
    <dgm:cxn modelId="{DBCE3291-5CD9-492C-A789-C6A7CB87D799}" type="presOf" srcId="{818C7C8B-9AD2-4D96-9136-75D7F2B87843}" destId="{8602B1F8-B029-4B99-91A8-CE1E383A2315}" srcOrd="0" destOrd="0" presId="urn:microsoft.com/office/officeart/2005/8/layout/vList2"/>
    <dgm:cxn modelId="{3F7B479D-3463-4F93-BA68-625855096B2A}" srcId="{622BFC72-AED9-4856-AD95-E27E377214E5}" destId="{8D25F543-1158-4D31-8D58-0E2A492DE7BB}" srcOrd="3" destOrd="0" parTransId="{D16E75BB-734E-48A5-9572-1B6DA881BEF5}" sibTransId="{2BD26993-E137-4739-B2F3-1D00C76746B9}"/>
    <dgm:cxn modelId="{204D40BA-F3B7-4D82-B593-EF4E3DC19ACA}" srcId="{622BFC72-AED9-4856-AD95-E27E377214E5}" destId="{A71F1EFB-757D-4DF5-8D6F-DD30DB3387C9}" srcOrd="2" destOrd="0" parTransId="{0DB0367E-CE17-4DE4-A1A8-35D1E0EB5DB5}" sibTransId="{813E3C1A-B685-41A2-AF52-A3754C03D981}"/>
    <dgm:cxn modelId="{7B8653EA-798F-4FFC-924D-6117B9AE874A}" type="presParOf" srcId="{242B0F13-631C-4016-B678-3FF7C8825159}" destId="{8602B1F8-B029-4B99-91A8-CE1E383A2315}" srcOrd="0" destOrd="0" presId="urn:microsoft.com/office/officeart/2005/8/layout/vList2"/>
    <dgm:cxn modelId="{BEC14923-8FF7-41B7-8BE0-6845AB2B8EAC}" type="presParOf" srcId="{242B0F13-631C-4016-B678-3FF7C8825159}" destId="{E8FCE056-10BB-4077-917B-663DB7D7B745}" srcOrd="1" destOrd="0" presId="urn:microsoft.com/office/officeart/2005/8/layout/vList2"/>
    <dgm:cxn modelId="{8CECCBA9-C18E-4FD9-A52E-289AE25D36AD}" type="presParOf" srcId="{242B0F13-631C-4016-B678-3FF7C8825159}" destId="{E6D86303-23A1-4B21-B6BC-134290A7CEFD}" srcOrd="2" destOrd="0" presId="urn:microsoft.com/office/officeart/2005/8/layout/vList2"/>
    <dgm:cxn modelId="{814AEC97-301A-40D8-B85E-DFE7E04224A5}" type="presParOf" srcId="{242B0F13-631C-4016-B678-3FF7C8825159}" destId="{A76F5E30-2A55-4AF7-AE9B-B7E6A1F201D7}" srcOrd="3" destOrd="0" presId="urn:microsoft.com/office/officeart/2005/8/layout/vList2"/>
    <dgm:cxn modelId="{A9CC3CA3-52D4-4A2F-B4F7-D4F7387B4A8E}" type="presParOf" srcId="{242B0F13-631C-4016-B678-3FF7C8825159}" destId="{26E70C0C-F5FD-49C3-8713-CCF302D4DD1F}" srcOrd="4" destOrd="0" presId="urn:microsoft.com/office/officeart/2005/8/layout/vList2"/>
    <dgm:cxn modelId="{CEC5DA75-40CC-4890-9D5A-BD4222238EDA}" type="presParOf" srcId="{242B0F13-631C-4016-B678-3FF7C8825159}" destId="{29DF7871-5A89-456A-AFCB-8C8FBDB9E9BD}" srcOrd="5" destOrd="0" presId="urn:microsoft.com/office/officeart/2005/8/layout/vList2"/>
    <dgm:cxn modelId="{1B89218C-DB26-45B0-A519-FBE7296A2F15}" type="presParOf" srcId="{242B0F13-631C-4016-B678-3FF7C8825159}" destId="{BED7B686-B782-45EF-9B4E-6B0A8CF64E7E}"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2DD37B5-6A11-41D4-A886-9FFF022E8E22}"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73D9ED28-9151-4190-A3BB-ACA6DC091472}">
      <dgm:prSet/>
      <dgm:spPr/>
      <dgm:t>
        <a:bodyPr/>
        <a:lstStyle/>
        <a:p>
          <a:r>
            <a:rPr lang="en-US" dirty="0"/>
            <a:t>Logical fragmentation</a:t>
          </a:r>
        </a:p>
      </dgm:t>
    </dgm:pt>
    <dgm:pt modelId="{70CD2FF3-8B5B-4EF7-B809-51995BC5E6B3}" type="parTrans" cxnId="{23D4F79B-0BB6-42C8-81C0-4A49A443EE2C}">
      <dgm:prSet/>
      <dgm:spPr/>
      <dgm:t>
        <a:bodyPr/>
        <a:lstStyle/>
        <a:p>
          <a:endParaRPr lang="en-US"/>
        </a:p>
      </dgm:t>
    </dgm:pt>
    <dgm:pt modelId="{61EC6D44-59B4-4DEF-8FA9-FAAC6A030983}" type="sibTrans" cxnId="{23D4F79B-0BB6-42C8-81C0-4A49A443EE2C}">
      <dgm:prSet/>
      <dgm:spPr/>
      <dgm:t>
        <a:bodyPr/>
        <a:lstStyle/>
        <a:p>
          <a:endParaRPr lang="en-US"/>
        </a:p>
      </dgm:t>
    </dgm:pt>
    <dgm:pt modelId="{0956B101-27E3-4A85-91AF-1BCD38CB4250}">
      <dgm:prSet/>
      <dgm:spPr/>
      <dgm:t>
        <a:bodyPr/>
        <a:lstStyle/>
        <a:p>
          <a:r>
            <a:rPr lang="en-US" sz="1800" dirty="0"/>
            <a:t>Occurs when leaf level pages are not physically corresponding to the logical order of the index:</a:t>
          </a:r>
        </a:p>
      </dgm:t>
    </dgm:pt>
    <dgm:pt modelId="{36B208DE-C605-4213-9CD1-C5ADAD3FE086}" type="parTrans" cxnId="{3C5914FA-25D1-4D71-9CB8-DCDAAE05634B}">
      <dgm:prSet/>
      <dgm:spPr/>
      <dgm:t>
        <a:bodyPr/>
        <a:lstStyle/>
        <a:p>
          <a:endParaRPr lang="en-US"/>
        </a:p>
      </dgm:t>
    </dgm:pt>
    <dgm:pt modelId="{8015C74F-7C87-4DDB-9EEB-E35BAC7D96C1}" type="sibTrans" cxnId="{3C5914FA-25D1-4D71-9CB8-DCDAAE05634B}">
      <dgm:prSet/>
      <dgm:spPr/>
      <dgm:t>
        <a:bodyPr/>
        <a:lstStyle/>
        <a:p>
          <a:endParaRPr lang="en-US"/>
        </a:p>
      </dgm:t>
    </dgm:pt>
    <dgm:pt modelId="{9ED7650E-8825-4EB4-B979-A5BF88F89511}">
      <dgm:prSet custT="1"/>
      <dgm:spPr/>
      <dgm:t>
        <a:bodyPr/>
        <a:lstStyle/>
        <a:p>
          <a:r>
            <a:rPr lang="en-US" sz="1600" dirty="0"/>
            <a:t>Pages are not in the most efficient order for scanning purposes.</a:t>
          </a:r>
        </a:p>
      </dgm:t>
    </dgm:pt>
    <dgm:pt modelId="{B8148CC2-E959-4A38-A366-E746EED36634}" type="parTrans" cxnId="{FFF8D6E4-EBA0-48EA-9685-2F256D7E23E7}">
      <dgm:prSet/>
      <dgm:spPr/>
      <dgm:t>
        <a:bodyPr/>
        <a:lstStyle/>
        <a:p>
          <a:endParaRPr lang="en-US"/>
        </a:p>
      </dgm:t>
    </dgm:pt>
    <dgm:pt modelId="{C893F246-F78D-4EB5-8EA6-805C96734A65}" type="sibTrans" cxnId="{FFF8D6E4-EBA0-48EA-9685-2F256D7E23E7}">
      <dgm:prSet/>
      <dgm:spPr/>
      <dgm:t>
        <a:bodyPr/>
        <a:lstStyle/>
        <a:p>
          <a:endParaRPr lang="en-US"/>
        </a:p>
      </dgm:t>
    </dgm:pt>
    <dgm:pt modelId="{C8B381AE-7352-4AFE-94FF-280BC8211C94}">
      <dgm:prSet/>
      <dgm:spPr/>
      <dgm:t>
        <a:bodyPr/>
        <a:lstStyle/>
        <a:p>
          <a:r>
            <a:rPr lang="en-US" sz="1800" dirty="0"/>
            <a:t>Limits the efficiency of read-ahead scans, but not seeks. </a:t>
          </a:r>
        </a:p>
      </dgm:t>
    </dgm:pt>
    <dgm:pt modelId="{F3370837-3D1D-4370-9CED-63794A3A2A45}" type="parTrans" cxnId="{700C9665-6120-4610-9148-40863F90CEC9}">
      <dgm:prSet/>
      <dgm:spPr/>
      <dgm:t>
        <a:bodyPr/>
        <a:lstStyle/>
        <a:p>
          <a:endParaRPr lang="en-US"/>
        </a:p>
      </dgm:t>
    </dgm:pt>
    <dgm:pt modelId="{6D41AAA6-434A-4C96-9552-B71811653EE1}" type="sibTrans" cxnId="{700C9665-6120-4610-9148-40863F90CEC9}">
      <dgm:prSet/>
      <dgm:spPr/>
      <dgm:t>
        <a:bodyPr/>
        <a:lstStyle/>
        <a:p>
          <a:endParaRPr lang="en-US"/>
        </a:p>
      </dgm:t>
    </dgm:pt>
    <dgm:pt modelId="{DECBEAAE-D565-48C7-BD63-390657079615}">
      <dgm:prSet/>
      <dgm:spPr/>
      <dgm:t>
        <a:bodyPr/>
        <a:lstStyle/>
        <a:p>
          <a:r>
            <a:rPr lang="en-US" dirty="0"/>
            <a:t>Page density</a:t>
          </a:r>
        </a:p>
      </dgm:t>
    </dgm:pt>
    <dgm:pt modelId="{80ADA7D4-09F9-4C18-A846-90FE53BE6750}" type="parTrans" cxnId="{105EA0C3-9EA4-4222-B297-1A5E595278CC}">
      <dgm:prSet/>
      <dgm:spPr/>
      <dgm:t>
        <a:bodyPr/>
        <a:lstStyle/>
        <a:p>
          <a:endParaRPr lang="en-US"/>
        </a:p>
      </dgm:t>
    </dgm:pt>
    <dgm:pt modelId="{BEDB0194-3EC6-40C8-8814-81593A7FCFD0}" type="sibTrans" cxnId="{105EA0C3-9EA4-4222-B297-1A5E595278CC}">
      <dgm:prSet/>
      <dgm:spPr/>
      <dgm:t>
        <a:bodyPr/>
        <a:lstStyle/>
        <a:p>
          <a:endParaRPr lang="en-US"/>
        </a:p>
      </dgm:t>
    </dgm:pt>
    <dgm:pt modelId="{0DEBE17C-3BBB-4FD6-B128-4196C1FAA38E}">
      <dgm:prSet/>
      <dgm:spPr/>
      <dgm:t>
        <a:bodyPr/>
        <a:lstStyle/>
        <a:p>
          <a:r>
            <a:rPr lang="en-US" dirty="0"/>
            <a:t>How full a page is when a rebuild/reorganization occurs.</a:t>
          </a:r>
        </a:p>
      </dgm:t>
    </dgm:pt>
    <dgm:pt modelId="{74EBBBB4-3B7A-45C4-ACD3-C50B64BD6F3D}" type="parTrans" cxnId="{CE2496C7-9610-4645-99DF-821C453F712E}">
      <dgm:prSet/>
      <dgm:spPr/>
      <dgm:t>
        <a:bodyPr/>
        <a:lstStyle/>
        <a:p>
          <a:endParaRPr lang="en-US"/>
        </a:p>
      </dgm:t>
    </dgm:pt>
    <dgm:pt modelId="{37C6E58F-BE1A-4ACC-BD55-B583CD6E19F9}" type="sibTrans" cxnId="{CE2496C7-9610-4645-99DF-821C453F712E}">
      <dgm:prSet/>
      <dgm:spPr/>
      <dgm:t>
        <a:bodyPr/>
        <a:lstStyle/>
        <a:p>
          <a:endParaRPr lang="en-US"/>
        </a:p>
      </dgm:t>
    </dgm:pt>
    <dgm:pt modelId="{85708182-DA46-48FF-8B68-B1ECDCBD858A}">
      <dgm:prSet/>
      <dgm:spPr/>
      <dgm:t>
        <a:bodyPr/>
        <a:lstStyle/>
        <a:p>
          <a:r>
            <a:rPr lang="en-US" dirty="0"/>
            <a:t>The fuller a page is, the more likely page splits occur when data is modified.</a:t>
          </a:r>
        </a:p>
      </dgm:t>
    </dgm:pt>
    <dgm:pt modelId="{2390C6F1-FA81-41E2-AEB2-F5EE6C915BB3}" type="parTrans" cxnId="{B7DAEF91-FFD9-43E8-AA64-EEC9928E72CB}">
      <dgm:prSet/>
      <dgm:spPr/>
      <dgm:t>
        <a:bodyPr/>
        <a:lstStyle/>
        <a:p>
          <a:endParaRPr lang="en-US"/>
        </a:p>
      </dgm:t>
    </dgm:pt>
    <dgm:pt modelId="{AC62A907-3379-465B-9DB3-C42FB50C9A37}" type="sibTrans" cxnId="{B7DAEF91-FFD9-43E8-AA64-EEC9928E72CB}">
      <dgm:prSet/>
      <dgm:spPr/>
      <dgm:t>
        <a:bodyPr/>
        <a:lstStyle/>
        <a:p>
          <a:endParaRPr lang="en-US"/>
        </a:p>
      </dgm:t>
    </dgm:pt>
    <dgm:pt modelId="{85331DEE-8EB0-4FCB-B9C2-500CFBCEF8B8}">
      <dgm:prSet/>
      <dgm:spPr/>
      <dgm:t>
        <a:bodyPr/>
        <a:lstStyle/>
        <a:p>
          <a:r>
            <a:rPr lang="en-US" dirty="0"/>
            <a:t>The less full a page is, the more wasted space in the buffer pool when reading pages.</a:t>
          </a:r>
        </a:p>
      </dgm:t>
    </dgm:pt>
    <dgm:pt modelId="{FF767325-9619-4786-9476-7F0817E48E6D}" type="parTrans" cxnId="{B94BC474-9F58-4680-8408-DFBAFD0D3310}">
      <dgm:prSet/>
      <dgm:spPr/>
      <dgm:t>
        <a:bodyPr/>
        <a:lstStyle/>
        <a:p>
          <a:endParaRPr lang="en-US"/>
        </a:p>
      </dgm:t>
    </dgm:pt>
    <dgm:pt modelId="{928AF1BD-A7EF-45EA-B7E5-C00FD4041E8C}" type="sibTrans" cxnId="{B94BC474-9F58-4680-8408-DFBAFD0D3310}">
      <dgm:prSet/>
      <dgm:spPr/>
      <dgm:t>
        <a:bodyPr/>
        <a:lstStyle/>
        <a:p>
          <a:endParaRPr lang="en-US"/>
        </a:p>
      </dgm:t>
    </dgm:pt>
    <dgm:pt modelId="{D72076AC-0DE1-4E7B-8A6F-0D5D1232111C}" type="pres">
      <dgm:prSet presAssocID="{42DD37B5-6A11-41D4-A886-9FFF022E8E22}" presName="Name0" presStyleCnt="0">
        <dgm:presLayoutVars>
          <dgm:dir/>
          <dgm:animLvl val="lvl"/>
          <dgm:resizeHandles val="exact"/>
        </dgm:presLayoutVars>
      </dgm:prSet>
      <dgm:spPr/>
    </dgm:pt>
    <dgm:pt modelId="{4CC0C91A-27B7-405E-93B8-69A6F16583E6}" type="pres">
      <dgm:prSet presAssocID="{73D9ED28-9151-4190-A3BB-ACA6DC091472}" presName="composite" presStyleCnt="0"/>
      <dgm:spPr/>
    </dgm:pt>
    <dgm:pt modelId="{0848E8C7-E444-4263-A1C9-B0B2B5B0F6F5}" type="pres">
      <dgm:prSet presAssocID="{73D9ED28-9151-4190-A3BB-ACA6DC091472}" presName="parTx" presStyleLbl="alignNode1" presStyleIdx="0" presStyleCnt="2">
        <dgm:presLayoutVars>
          <dgm:chMax val="0"/>
          <dgm:chPref val="0"/>
          <dgm:bulletEnabled val="1"/>
        </dgm:presLayoutVars>
      </dgm:prSet>
      <dgm:spPr/>
    </dgm:pt>
    <dgm:pt modelId="{1294CDCA-98F6-4290-B88C-348D75592B71}" type="pres">
      <dgm:prSet presAssocID="{73D9ED28-9151-4190-A3BB-ACA6DC091472}" presName="desTx" presStyleLbl="alignAccFollowNode1" presStyleIdx="0" presStyleCnt="2">
        <dgm:presLayoutVars>
          <dgm:bulletEnabled val="1"/>
        </dgm:presLayoutVars>
      </dgm:prSet>
      <dgm:spPr/>
    </dgm:pt>
    <dgm:pt modelId="{046B87DD-49DB-43AD-8F9B-843B220D6EC5}" type="pres">
      <dgm:prSet presAssocID="{61EC6D44-59B4-4DEF-8FA9-FAAC6A030983}" presName="space" presStyleCnt="0"/>
      <dgm:spPr/>
    </dgm:pt>
    <dgm:pt modelId="{4BC555A3-6542-4F40-AA2B-A476A93D5FFF}" type="pres">
      <dgm:prSet presAssocID="{DECBEAAE-D565-48C7-BD63-390657079615}" presName="composite" presStyleCnt="0"/>
      <dgm:spPr/>
    </dgm:pt>
    <dgm:pt modelId="{A72987B7-8A1D-42FB-BCDB-EAC12F40525A}" type="pres">
      <dgm:prSet presAssocID="{DECBEAAE-D565-48C7-BD63-390657079615}" presName="parTx" presStyleLbl="alignNode1" presStyleIdx="1" presStyleCnt="2">
        <dgm:presLayoutVars>
          <dgm:chMax val="0"/>
          <dgm:chPref val="0"/>
          <dgm:bulletEnabled val="1"/>
        </dgm:presLayoutVars>
      </dgm:prSet>
      <dgm:spPr/>
    </dgm:pt>
    <dgm:pt modelId="{140E2B44-5E9C-4F75-A163-E1514C59BD3D}" type="pres">
      <dgm:prSet presAssocID="{DECBEAAE-D565-48C7-BD63-390657079615}" presName="desTx" presStyleLbl="alignAccFollowNode1" presStyleIdx="1" presStyleCnt="2">
        <dgm:presLayoutVars>
          <dgm:bulletEnabled val="1"/>
        </dgm:presLayoutVars>
      </dgm:prSet>
      <dgm:spPr/>
    </dgm:pt>
  </dgm:ptLst>
  <dgm:cxnLst>
    <dgm:cxn modelId="{88890212-4B48-4C4D-89CB-F4B203344409}" type="presOf" srcId="{85708182-DA46-48FF-8B68-B1ECDCBD858A}" destId="{140E2B44-5E9C-4F75-A163-E1514C59BD3D}" srcOrd="0" destOrd="1" presId="urn:microsoft.com/office/officeart/2005/8/layout/hList1"/>
    <dgm:cxn modelId="{22807D19-98D2-487E-BD39-D5760849C1B6}" type="presOf" srcId="{C8B381AE-7352-4AFE-94FF-280BC8211C94}" destId="{1294CDCA-98F6-4290-B88C-348D75592B71}" srcOrd="0" destOrd="2" presId="urn:microsoft.com/office/officeart/2005/8/layout/hList1"/>
    <dgm:cxn modelId="{41E9C31D-45B4-4B6A-9C90-498BA250303E}" type="presOf" srcId="{73D9ED28-9151-4190-A3BB-ACA6DC091472}" destId="{0848E8C7-E444-4263-A1C9-B0B2B5B0F6F5}" srcOrd="0" destOrd="0" presId="urn:microsoft.com/office/officeart/2005/8/layout/hList1"/>
    <dgm:cxn modelId="{700C9665-6120-4610-9148-40863F90CEC9}" srcId="{73D9ED28-9151-4190-A3BB-ACA6DC091472}" destId="{C8B381AE-7352-4AFE-94FF-280BC8211C94}" srcOrd="1" destOrd="0" parTransId="{F3370837-3D1D-4370-9CED-63794A3A2A45}" sibTransId="{6D41AAA6-434A-4C96-9552-B71811653EE1}"/>
    <dgm:cxn modelId="{B94BC474-9F58-4680-8408-DFBAFD0D3310}" srcId="{DECBEAAE-D565-48C7-BD63-390657079615}" destId="{85331DEE-8EB0-4FCB-B9C2-500CFBCEF8B8}" srcOrd="2" destOrd="0" parTransId="{FF767325-9619-4786-9476-7F0817E48E6D}" sibTransId="{928AF1BD-A7EF-45EA-B7E5-C00FD4041E8C}"/>
    <dgm:cxn modelId="{B7DAEF91-FFD9-43E8-AA64-EEC9928E72CB}" srcId="{DECBEAAE-D565-48C7-BD63-390657079615}" destId="{85708182-DA46-48FF-8B68-B1ECDCBD858A}" srcOrd="1" destOrd="0" parTransId="{2390C6F1-FA81-41E2-AEB2-F5EE6C915BB3}" sibTransId="{AC62A907-3379-465B-9DB3-C42FB50C9A37}"/>
    <dgm:cxn modelId="{23D4F79B-0BB6-42C8-81C0-4A49A443EE2C}" srcId="{42DD37B5-6A11-41D4-A886-9FFF022E8E22}" destId="{73D9ED28-9151-4190-A3BB-ACA6DC091472}" srcOrd="0" destOrd="0" parTransId="{70CD2FF3-8B5B-4EF7-B809-51995BC5E6B3}" sibTransId="{61EC6D44-59B4-4DEF-8FA9-FAAC6A030983}"/>
    <dgm:cxn modelId="{2F6237B8-19AC-4D60-B91C-C50152B9ADE4}" type="presOf" srcId="{DECBEAAE-D565-48C7-BD63-390657079615}" destId="{A72987B7-8A1D-42FB-BCDB-EAC12F40525A}" srcOrd="0" destOrd="0" presId="urn:microsoft.com/office/officeart/2005/8/layout/hList1"/>
    <dgm:cxn modelId="{105EA0C3-9EA4-4222-B297-1A5E595278CC}" srcId="{42DD37B5-6A11-41D4-A886-9FFF022E8E22}" destId="{DECBEAAE-D565-48C7-BD63-390657079615}" srcOrd="1" destOrd="0" parTransId="{80ADA7D4-09F9-4C18-A846-90FE53BE6750}" sibTransId="{BEDB0194-3EC6-40C8-8814-81593A7FCFD0}"/>
    <dgm:cxn modelId="{CE2496C7-9610-4645-99DF-821C453F712E}" srcId="{DECBEAAE-D565-48C7-BD63-390657079615}" destId="{0DEBE17C-3BBB-4FD6-B128-4196C1FAA38E}" srcOrd="0" destOrd="0" parTransId="{74EBBBB4-3B7A-45C4-ACD3-C50B64BD6F3D}" sibTransId="{37C6E58F-BE1A-4ACC-BD55-B583CD6E19F9}"/>
    <dgm:cxn modelId="{AA389CC9-C77F-4520-9D3B-F6A958DAA495}" type="presOf" srcId="{0956B101-27E3-4A85-91AF-1BCD38CB4250}" destId="{1294CDCA-98F6-4290-B88C-348D75592B71}" srcOrd="0" destOrd="0" presId="urn:microsoft.com/office/officeart/2005/8/layout/hList1"/>
    <dgm:cxn modelId="{A34423DC-EE51-4895-8CAE-D940C7FF506E}" type="presOf" srcId="{85331DEE-8EB0-4FCB-B9C2-500CFBCEF8B8}" destId="{140E2B44-5E9C-4F75-A163-E1514C59BD3D}" srcOrd="0" destOrd="2" presId="urn:microsoft.com/office/officeart/2005/8/layout/hList1"/>
    <dgm:cxn modelId="{319957E2-634C-433F-AF8D-DFA3712DD22E}" type="presOf" srcId="{0DEBE17C-3BBB-4FD6-B128-4196C1FAA38E}" destId="{140E2B44-5E9C-4F75-A163-E1514C59BD3D}" srcOrd="0" destOrd="0" presId="urn:microsoft.com/office/officeart/2005/8/layout/hList1"/>
    <dgm:cxn modelId="{FFF8D6E4-EBA0-48EA-9685-2F256D7E23E7}" srcId="{0956B101-27E3-4A85-91AF-1BCD38CB4250}" destId="{9ED7650E-8825-4EB4-B979-A5BF88F89511}" srcOrd="0" destOrd="0" parTransId="{B8148CC2-E959-4A38-A366-E746EED36634}" sibTransId="{C893F246-F78D-4EB5-8EA6-805C96734A65}"/>
    <dgm:cxn modelId="{3C5914FA-25D1-4D71-9CB8-DCDAAE05634B}" srcId="{73D9ED28-9151-4190-A3BB-ACA6DC091472}" destId="{0956B101-27E3-4A85-91AF-1BCD38CB4250}" srcOrd="0" destOrd="0" parTransId="{36B208DE-C605-4213-9CD1-C5ADAD3FE086}" sibTransId="{8015C74F-7C87-4DDB-9EEB-E35BAC7D96C1}"/>
    <dgm:cxn modelId="{E4096AFE-B2B7-4D1A-BC44-568D1790AC88}" type="presOf" srcId="{42DD37B5-6A11-41D4-A886-9FFF022E8E22}" destId="{D72076AC-0DE1-4E7B-8A6F-0D5D1232111C}" srcOrd="0" destOrd="0" presId="urn:microsoft.com/office/officeart/2005/8/layout/hList1"/>
    <dgm:cxn modelId="{CD0696FF-CB3E-40BB-B583-CCD8C25D2BFE}" type="presOf" srcId="{9ED7650E-8825-4EB4-B979-A5BF88F89511}" destId="{1294CDCA-98F6-4290-B88C-348D75592B71}" srcOrd="0" destOrd="1" presId="urn:microsoft.com/office/officeart/2005/8/layout/hList1"/>
    <dgm:cxn modelId="{D6501FD6-23FC-4BF4-9961-D021425D78B9}" type="presParOf" srcId="{D72076AC-0DE1-4E7B-8A6F-0D5D1232111C}" destId="{4CC0C91A-27B7-405E-93B8-69A6F16583E6}" srcOrd="0" destOrd="0" presId="urn:microsoft.com/office/officeart/2005/8/layout/hList1"/>
    <dgm:cxn modelId="{4D59F7B0-3A0A-42E8-9F3D-E8B99A9E65B0}" type="presParOf" srcId="{4CC0C91A-27B7-405E-93B8-69A6F16583E6}" destId="{0848E8C7-E444-4263-A1C9-B0B2B5B0F6F5}" srcOrd="0" destOrd="0" presId="urn:microsoft.com/office/officeart/2005/8/layout/hList1"/>
    <dgm:cxn modelId="{08D93DEC-2FBB-455F-93B6-D29EE5EF24A3}" type="presParOf" srcId="{4CC0C91A-27B7-405E-93B8-69A6F16583E6}" destId="{1294CDCA-98F6-4290-B88C-348D75592B71}" srcOrd="1" destOrd="0" presId="urn:microsoft.com/office/officeart/2005/8/layout/hList1"/>
    <dgm:cxn modelId="{031AEDB6-3280-4BAF-BBA0-3D1FA92BC629}" type="presParOf" srcId="{D72076AC-0DE1-4E7B-8A6F-0D5D1232111C}" destId="{046B87DD-49DB-43AD-8F9B-843B220D6EC5}" srcOrd="1" destOrd="0" presId="urn:microsoft.com/office/officeart/2005/8/layout/hList1"/>
    <dgm:cxn modelId="{1ADED6F2-84DF-4B17-89D9-E168BCDCC593}" type="presParOf" srcId="{D72076AC-0DE1-4E7B-8A6F-0D5D1232111C}" destId="{4BC555A3-6542-4F40-AA2B-A476A93D5FFF}" srcOrd="2" destOrd="0" presId="urn:microsoft.com/office/officeart/2005/8/layout/hList1"/>
    <dgm:cxn modelId="{294FE653-04F9-4A22-9D6F-69E14D7C6A08}" type="presParOf" srcId="{4BC555A3-6542-4F40-AA2B-A476A93D5FFF}" destId="{A72987B7-8A1D-42FB-BCDB-EAC12F40525A}" srcOrd="0" destOrd="0" presId="urn:microsoft.com/office/officeart/2005/8/layout/hList1"/>
    <dgm:cxn modelId="{97CE73EC-930B-4D61-81F0-7FDD7CE80B8D}" type="presParOf" srcId="{4BC555A3-6542-4F40-AA2B-A476A93D5FFF}" destId="{140E2B44-5E9C-4F75-A163-E1514C59BD3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66C9E6B-3268-4E6D-9140-043A0F8C21B2}"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21939C59-C26C-4F5B-94FD-6ED37D71800F}">
      <dgm:prSet custT="1"/>
      <dgm:spPr/>
      <dgm:t>
        <a:bodyPr/>
        <a:lstStyle/>
        <a:p>
          <a:r>
            <a:rPr lang="en-US" sz="2400" baseline="0" dirty="0"/>
            <a:t>Reducing logical fragmentation.</a:t>
          </a:r>
          <a:endParaRPr lang="en-US" sz="2400" dirty="0"/>
        </a:p>
      </dgm:t>
    </dgm:pt>
    <dgm:pt modelId="{2AE12DD6-F8B0-4F60-A18C-783A218F7F75}" type="parTrans" cxnId="{B73706A1-BFF7-4391-9280-2085DD24AEFC}">
      <dgm:prSet/>
      <dgm:spPr/>
      <dgm:t>
        <a:bodyPr/>
        <a:lstStyle/>
        <a:p>
          <a:endParaRPr lang="en-US"/>
        </a:p>
      </dgm:t>
    </dgm:pt>
    <dgm:pt modelId="{EF0F687F-725B-45A7-8D64-C86515D38A48}" type="sibTrans" cxnId="{B73706A1-BFF7-4391-9280-2085DD24AEFC}">
      <dgm:prSet/>
      <dgm:spPr/>
      <dgm:t>
        <a:bodyPr/>
        <a:lstStyle/>
        <a:p>
          <a:endParaRPr lang="en-US"/>
        </a:p>
      </dgm:t>
    </dgm:pt>
    <dgm:pt modelId="{8AA91AFB-4E89-4020-8018-E2188FF3477C}">
      <dgm:prSet custT="1"/>
      <dgm:spPr/>
      <dgm:t>
        <a:bodyPr/>
        <a:lstStyle/>
        <a:p>
          <a:r>
            <a:rPr lang="en-US" sz="2400" baseline="0"/>
            <a:t>Low fragmentation </a:t>
          </a:r>
          <a:endParaRPr lang="en-US" sz="2400"/>
        </a:p>
      </dgm:t>
    </dgm:pt>
    <dgm:pt modelId="{E54BCAA0-0970-48DE-933D-7522E0E27230}" type="parTrans" cxnId="{52B75D09-5FBB-46FD-A16E-A87882616357}">
      <dgm:prSet/>
      <dgm:spPr/>
      <dgm:t>
        <a:bodyPr/>
        <a:lstStyle/>
        <a:p>
          <a:endParaRPr lang="en-US"/>
        </a:p>
      </dgm:t>
    </dgm:pt>
    <dgm:pt modelId="{57D262C1-EF50-4B9A-8704-3B60F9C7B885}" type="sibTrans" cxnId="{52B75D09-5FBB-46FD-A16E-A87882616357}">
      <dgm:prSet/>
      <dgm:spPr/>
      <dgm:t>
        <a:bodyPr/>
        <a:lstStyle/>
        <a:p>
          <a:endParaRPr lang="en-US"/>
        </a:p>
      </dgm:t>
    </dgm:pt>
    <dgm:pt modelId="{8875C65F-C839-4D6E-AF54-8F7E18DE0FD1}">
      <dgm:prSet custT="1"/>
      <dgm:spPr/>
      <dgm:t>
        <a:bodyPr/>
        <a:lstStyle/>
        <a:p>
          <a:r>
            <a:rPr lang="en-US" sz="2400" baseline="0"/>
            <a:t>High seeks and low scans </a:t>
          </a:r>
          <a:endParaRPr lang="en-US" sz="2400"/>
        </a:p>
      </dgm:t>
    </dgm:pt>
    <dgm:pt modelId="{C15702DD-1418-49EB-8520-47930707AE0B}" type="parTrans" cxnId="{77C0788C-91BA-4FAB-AB39-014E9196025E}">
      <dgm:prSet/>
      <dgm:spPr/>
      <dgm:t>
        <a:bodyPr/>
        <a:lstStyle/>
        <a:p>
          <a:endParaRPr lang="en-US"/>
        </a:p>
      </dgm:t>
    </dgm:pt>
    <dgm:pt modelId="{B37E762E-D91A-4BBF-8A1E-33B086A3ED75}" type="sibTrans" cxnId="{77C0788C-91BA-4FAB-AB39-014E9196025E}">
      <dgm:prSet/>
      <dgm:spPr/>
      <dgm:t>
        <a:bodyPr/>
        <a:lstStyle/>
        <a:p>
          <a:endParaRPr lang="en-US"/>
        </a:p>
      </dgm:t>
    </dgm:pt>
    <dgm:pt modelId="{CA0AAA13-F00C-4645-8218-CC3FD686D376}">
      <dgm:prSet custT="1"/>
      <dgm:spPr/>
      <dgm:t>
        <a:bodyPr/>
        <a:lstStyle/>
        <a:p>
          <a:r>
            <a:rPr lang="en-US" sz="2400" baseline="0"/>
            <a:t>Index is not scanned</a:t>
          </a:r>
          <a:endParaRPr lang="en-US" sz="2400"/>
        </a:p>
      </dgm:t>
    </dgm:pt>
    <dgm:pt modelId="{F1C37134-89A3-4264-81BA-FD0F079B1570}" type="parTrans" cxnId="{F263CB87-BCB9-41D4-9346-508651AC11C1}">
      <dgm:prSet/>
      <dgm:spPr/>
      <dgm:t>
        <a:bodyPr/>
        <a:lstStyle/>
        <a:p>
          <a:endParaRPr lang="en-US"/>
        </a:p>
      </dgm:t>
    </dgm:pt>
    <dgm:pt modelId="{41E277FA-741B-446C-87DE-11F695D33835}" type="sibTrans" cxnId="{F263CB87-BCB9-41D4-9346-508651AC11C1}">
      <dgm:prSet/>
      <dgm:spPr/>
      <dgm:t>
        <a:bodyPr/>
        <a:lstStyle/>
        <a:p>
          <a:endParaRPr lang="en-US"/>
        </a:p>
      </dgm:t>
    </dgm:pt>
    <dgm:pt modelId="{84D9F659-7CBB-430E-82B4-725FC2DBE51D}">
      <dgm:prSet custT="1"/>
      <dgm:spPr/>
      <dgm:t>
        <a:bodyPr/>
        <a:lstStyle/>
        <a:p>
          <a:r>
            <a:rPr lang="en-US" sz="2400" dirty="0"/>
            <a:t>Use When</a:t>
          </a:r>
        </a:p>
      </dgm:t>
    </dgm:pt>
    <dgm:pt modelId="{809D0AA7-EE06-4883-A7ED-72B238308CC1}" type="parTrans" cxnId="{713B4BB6-679B-4301-9707-467FBB0BBF4F}">
      <dgm:prSet/>
      <dgm:spPr/>
      <dgm:t>
        <a:bodyPr/>
        <a:lstStyle/>
        <a:p>
          <a:endParaRPr lang="en-US"/>
        </a:p>
      </dgm:t>
    </dgm:pt>
    <dgm:pt modelId="{641C1997-4C46-44B2-97BF-799BDEF66F14}" type="sibTrans" cxnId="{713B4BB6-679B-4301-9707-467FBB0BBF4F}">
      <dgm:prSet/>
      <dgm:spPr/>
      <dgm:t>
        <a:bodyPr/>
        <a:lstStyle/>
        <a:p>
          <a:endParaRPr lang="en-US"/>
        </a:p>
      </dgm:t>
    </dgm:pt>
    <dgm:pt modelId="{8A0F6DDA-09B6-45A2-BE4A-58D033A0E518}">
      <dgm:prSet custT="1"/>
      <dgm:spPr/>
      <dgm:t>
        <a:bodyPr/>
        <a:lstStyle/>
        <a:p>
          <a:r>
            <a:rPr lang="en-US" sz="2400" baseline="0" dirty="0"/>
            <a:t>Specifying the amount of free space on a data or index page.</a:t>
          </a:r>
          <a:endParaRPr lang="en-US" sz="2400" dirty="0"/>
        </a:p>
      </dgm:t>
    </dgm:pt>
    <dgm:pt modelId="{F7C54A21-F892-46FE-A8B9-0452E9711B26}" type="parTrans" cxnId="{232DC16E-3067-4C7C-8F46-106F16DCF0AB}">
      <dgm:prSet/>
      <dgm:spPr/>
      <dgm:t>
        <a:bodyPr/>
        <a:lstStyle/>
        <a:p>
          <a:endParaRPr lang="en-US"/>
        </a:p>
      </dgm:t>
    </dgm:pt>
    <dgm:pt modelId="{AD120AE0-F551-4F06-AA7B-46623E1F9668}" type="sibTrans" cxnId="{232DC16E-3067-4C7C-8F46-106F16DCF0AB}">
      <dgm:prSet/>
      <dgm:spPr/>
      <dgm:t>
        <a:bodyPr/>
        <a:lstStyle/>
        <a:p>
          <a:endParaRPr lang="en-US"/>
        </a:p>
      </dgm:t>
    </dgm:pt>
    <dgm:pt modelId="{3DE478A1-37DC-40E8-B68B-87F4DE586A91}">
      <dgm:prSet custT="1"/>
      <dgm:spPr/>
      <dgm:t>
        <a:bodyPr/>
        <a:lstStyle/>
        <a:p>
          <a:r>
            <a:rPr lang="en-US" sz="2400" baseline="0" dirty="0"/>
            <a:t>Do not use when</a:t>
          </a:r>
          <a:endParaRPr lang="en-US" sz="2400" dirty="0"/>
        </a:p>
      </dgm:t>
    </dgm:pt>
    <dgm:pt modelId="{CD8D3B11-6021-4229-AB66-4F79ED292271}" type="parTrans" cxnId="{5A8B5811-5797-495A-A949-29F8ED94941A}">
      <dgm:prSet/>
      <dgm:spPr/>
      <dgm:t>
        <a:bodyPr/>
        <a:lstStyle/>
        <a:p>
          <a:endParaRPr lang="en-US"/>
        </a:p>
      </dgm:t>
    </dgm:pt>
    <dgm:pt modelId="{C764E329-E622-4211-BE92-8D37974AE5F5}" type="sibTrans" cxnId="{5A8B5811-5797-495A-A949-29F8ED94941A}">
      <dgm:prSet/>
      <dgm:spPr/>
      <dgm:t>
        <a:bodyPr/>
        <a:lstStyle/>
        <a:p>
          <a:endParaRPr lang="en-US"/>
        </a:p>
      </dgm:t>
    </dgm:pt>
    <dgm:pt modelId="{74C8D98F-786C-461B-ABA6-D51E9D63DEB4}" type="pres">
      <dgm:prSet presAssocID="{A66C9E6B-3268-4E6D-9140-043A0F8C21B2}" presName="Name0" presStyleCnt="0">
        <dgm:presLayoutVars>
          <dgm:dir/>
          <dgm:animLvl val="lvl"/>
          <dgm:resizeHandles val="exact"/>
        </dgm:presLayoutVars>
      </dgm:prSet>
      <dgm:spPr/>
    </dgm:pt>
    <dgm:pt modelId="{B6E87C3F-758C-428D-BE10-3CD372D43D49}" type="pres">
      <dgm:prSet presAssocID="{84D9F659-7CBB-430E-82B4-725FC2DBE51D}" presName="composite" presStyleCnt="0"/>
      <dgm:spPr/>
    </dgm:pt>
    <dgm:pt modelId="{DEDF2FDF-2315-4A7F-B321-05793ABBFEDC}" type="pres">
      <dgm:prSet presAssocID="{84D9F659-7CBB-430E-82B4-725FC2DBE51D}" presName="parTx" presStyleLbl="alignNode1" presStyleIdx="0" presStyleCnt="2">
        <dgm:presLayoutVars>
          <dgm:chMax val="0"/>
          <dgm:chPref val="0"/>
          <dgm:bulletEnabled val="1"/>
        </dgm:presLayoutVars>
      </dgm:prSet>
      <dgm:spPr/>
    </dgm:pt>
    <dgm:pt modelId="{E1CD9CB1-F7ED-4DB5-899B-0BB904D6A666}" type="pres">
      <dgm:prSet presAssocID="{84D9F659-7CBB-430E-82B4-725FC2DBE51D}" presName="desTx" presStyleLbl="alignAccFollowNode1" presStyleIdx="0" presStyleCnt="2">
        <dgm:presLayoutVars>
          <dgm:bulletEnabled val="1"/>
        </dgm:presLayoutVars>
      </dgm:prSet>
      <dgm:spPr/>
    </dgm:pt>
    <dgm:pt modelId="{74DE0D2C-6738-4BC6-BC9F-3CF756E5348B}" type="pres">
      <dgm:prSet presAssocID="{641C1997-4C46-44B2-97BF-799BDEF66F14}" presName="space" presStyleCnt="0"/>
      <dgm:spPr/>
    </dgm:pt>
    <dgm:pt modelId="{D432A94B-871D-433B-8B67-95248593F158}" type="pres">
      <dgm:prSet presAssocID="{3DE478A1-37DC-40E8-B68B-87F4DE586A91}" presName="composite" presStyleCnt="0"/>
      <dgm:spPr/>
    </dgm:pt>
    <dgm:pt modelId="{298A840C-4A90-4965-8317-4CE942FBD989}" type="pres">
      <dgm:prSet presAssocID="{3DE478A1-37DC-40E8-B68B-87F4DE586A91}" presName="parTx" presStyleLbl="alignNode1" presStyleIdx="1" presStyleCnt="2">
        <dgm:presLayoutVars>
          <dgm:chMax val="0"/>
          <dgm:chPref val="0"/>
          <dgm:bulletEnabled val="1"/>
        </dgm:presLayoutVars>
      </dgm:prSet>
      <dgm:spPr/>
    </dgm:pt>
    <dgm:pt modelId="{44FA1635-E70E-4D37-83E3-3316FEE79DEE}" type="pres">
      <dgm:prSet presAssocID="{3DE478A1-37DC-40E8-B68B-87F4DE586A91}" presName="desTx" presStyleLbl="alignAccFollowNode1" presStyleIdx="1" presStyleCnt="2">
        <dgm:presLayoutVars>
          <dgm:bulletEnabled val="1"/>
        </dgm:presLayoutVars>
      </dgm:prSet>
      <dgm:spPr/>
    </dgm:pt>
  </dgm:ptLst>
  <dgm:cxnLst>
    <dgm:cxn modelId="{52B75D09-5FBB-46FD-A16E-A87882616357}" srcId="{3DE478A1-37DC-40E8-B68B-87F4DE586A91}" destId="{8AA91AFB-4E89-4020-8018-E2188FF3477C}" srcOrd="0" destOrd="0" parTransId="{E54BCAA0-0970-48DE-933D-7522E0E27230}" sibTransId="{57D262C1-EF50-4B9A-8704-3B60F9C7B885}"/>
    <dgm:cxn modelId="{5A8B5811-5797-495A-A949-29F8ED94941A}" srcId="{A66C9E6B-3268-4E6D-9140-043A0F8C21B2}" destId="{3DE478A1-37DC-40E8-B68B-87F4DE586A91}" srcOrd="1" destOrd="0" parTransId="{CD8D3B11-6021-4229-AB66-4F79ED292271}" sibTransId="{C764E329-E622-4211-BE92-8D37974AE5F5}"/>
    <dgm:cxn modelId="{2B396D15-57AA-4EAE-8556-717C94A7E093}" type="presOf" srcId="{84D9F659-7CBB-430E-82B4-725FC2DBE51D}" destId="{DEDF2FDF-2315-4A7F-B321-05793ABBFEDC}" srcOrd="0" destOrd="0" presId="urn:microsoft.com/office/officeart/2005/8/layout/hList1"/>
    <dgm:cxn modelId="{2059E91F-F935-4864-9C99-AC915A3DD7A9}" type="presOf" srcId="{21939C59-C26C-4F5B-94FD-6ED37D71800F}" destId="{E1CD9CB1-F7ED-4DB5-899B-0BB904D6A666}" srcOrd="0" destOrd="1" presId="urn:microsoft.com/office/officeart/2005/8/layout/hList1"/>
    <dgm:cxn modelId="{D574F837-9B0F-42AB-83B7-BB4700DF61AD}" type="presOf" srcId="{CA0AAA13-F00C-4645-8218-CC3FD686D376}" destId="{44FA1635-E70E-4D37-83E3-3316FEE79DEE}" srcOrd="0" destOrd="2" presId="urn:microsoft.com/office/officeart/2005/8/layout/hList1"/>
    <dgm:cxn modelId="{2492183F-F9F4-436F-A088-F023D6AD2A24}" type="presOf" srcId="{8AA91AFB-4E89-4020-8018-E2188FF3477C}" destId="{44FA1635-E70E-4D37-83E3-3316FEE79DEE}" srcOrd="0" destOrd="0" presId="urn:microsoft.com/office/officeart/2005/8/layout/hList1"/>
    <dgm:cxn modelId="{232DC16E-3067-4C7C-8F46-106F16DCF0AB}" srcId="{84D9F659-7CBB-430E-82B4-725FC2DBE51D}" destId="{8A0F6DDA-09B6-45A2-BE4A-58D033A0E518}" srcOrd="0" destOrd="0" parTransId="{F7C54A21-F892-46FE-A8B9-0452E9711B26}" sibTransId="{AD120AE0-F551-4F06-AA7B-46623E1F9668}"/>
    <dgm:cxn modelId="{345B7A71-F48E-4569-8D13-7CF92F6770B9}" type="presOf" srcId="{8875C65F-C839-4D6E-AF54-8F7E18DE0FD1}" destId="{44FA1635-E70E-4D37-83E3-3316FEE79DEE}" srcOrd="0" destOrd="1" presId="urn:microsoft.com/office/officeart/2005/8/layout/hList1"/>
    <dgm:cxn modelId="{F263CB87-BCB9-41D4-9346-508651AC11C1}" srcId="{3DE478A1-37DC-40E8-B68B-87F4DE586A91}" destId="{CA0AAA13-F00C-4645-8218-CC3FD686D376}" srcOrd="2" destOrd="0" parTransId="{F1C37134-89A3-4264-81BA-FD0F079B1570}" sibTransId="{41E277FA-741B-446C-87DE-11F695D33835}"/>
    <dgm:cxn modelId="{77C0788C-91BA-4FAB-AB39-014E9196025E}" srcId="{3DE478A1-37DC-40E8-B68B-87F4DE586A91}" destId="{8875C65F-C839-4D6E-AF54-8F7E18DE0FD1}" srcOrd="1" destOrd="0" parTransId="{C15702DD-1418-49EB-8520-47930707AE0B}" sibTransId="{B37E762E-D91A-4BBF-8A1E-33B086A3ED75}"/>
    <dgm:cxn modelId="{B73706A1-BFF7-4391-9280-2085DD24AEFC}" srcId="{84D9F659-7CBB-430E-82B4-725FC2DBE51D}" destId="{21939C59-C26C-4F5B-94FD-6ED37D71800F}" srcOrd="1" destOrd="0" parTransId="{2AE12DD6-F8B0-4F60-A18C-783A218F7F75}" sibTransId="{EF0F687F-725B-45A7-8D64-C86515D38A48}"/>
    <dgm:cxn modelId="{B28694A5-F58C-4FD3-89BA-186EA28D86BA}" type="presOf" srcId="{A66C9E6B-3268-4E6D-9140-043A0F8C21B2}" destId="{74C8D98F-786C-461B-ABA6-D51E9D63DEB4}" srcOrd="0" destOrd="0" presId="urn:microsoft.com/office/officeart/2005/8/layout/hList1"/>
    <dgm:cxn modelId="{713B4BB6-679B-4301-9707-467FBB0BBF4F}" srcId="{A66C9E6B-3268-4E6D-9140-043A0F8C21B2}" destId="{84D9F659-7CBB-430E-82B4-725FC2DBE51D}" srcOrd="0" destOrd="0" parTransId="{809D0AA7-EE06-4883-A7ED-72B238308CC1}" sibTransId="{641C1997-4C46-44B2-97BF-799BDEF66F14}"/>
    <dgm:cxn modelId="{B6B1C9E4-8C69-4A77-955B-C88210DA6DE5}" type="presOf" srcId="{8A0F6DDA-09B6-45A2-BE4A-58D033A0E518}" destId="{E1CD9CB1-F7ED-4DB5-899B-0BB904D6A666}" srcOrd="0" destOrd="0" presId="urn:microsoft.com/office/officeart/2005/8/layout/hList1"/>
    <dgm:cxn modelId="{6AC7C6F7-95D4-463C-871F-034BB05883B9}" type="presOf" srcId="{3DE478A1-37DC-40E8-B68B-87F4DE586A91}" destId="{298A840C-4A90-4965-8317-4CE942FBD989}" srcOrd="0" destOrd="0" presId="urn:microsoft.com/office/officeart/2005/8/layout/hList1"/>
    <dgm:cxn modelId="{ADAE9B0D-D33E-44F3-8DE7-8B1DE141DD3A}" type="presParOf" srcId="{74C8D98F-786C-461B-ABA6-D51E9D63DEB4}" destId="{B6E87C3F-758C-428D-BE10-3CD372D43D49}" srcOrd="0" destOrd="0" presId="urn:microsoft.com/office/officeart/2005/8/layout/hList1"/>
    <dgm:cxn modelId="{A0D223B8-6123-4AC1-98CD-B699A5561714}" type="presParOf" srcId="{B6E87C3F-758C-428D-BE10-3CD372D43D49}" destId="{DEDF2FDF-2315-4A7F-B321-05793ABBFEDC}" srcOrd="0" destOrd="0" presId="urn:microsoft.com/office/officeart/2005/8/layout/hList1"/>
    <dgm:cxn modelId="{8E65212C-B892-4AF8-8956-0B11A698CAA9}" type="presParOf" srcId="{B6E87C3F-758C-428D-BE10-3CD372D43D49}" destId="{E1CD9CB1-F7ED-4DB5-899B-0BB904D6A666}" srcOrd="1" destOrd="0" presId="urn:microsoft.com/office/officeart/2005/8/layout/hList1"/>
    <dgm:cxn modelId="{BF02092E-FE48-48E3-A30F-45524A4A4962}" type="presParOf" srcId="{74C8D98F-786C-461B-ABA6-D51E9D63DEB4}" destId="{74DE0D2C-6738-4BC6-BC9F-3CF756E5348B}" srcOrd="1" destOrd="0" presId="urn:microsoft.com/office/officeart/2005/8/layout/hList1"/>
    <dgm:cxn modelId="{6A71509B-CCEC-4B49-B114-18A65FB8E48F}" type="presParOf" srcId="{74C8D98F-786C-461B-ABA6-D51E9D63DEB4}" destId="{D432A94B-871D-433B-8B67-95248593F158}" srcOrd="2" destOrd="0" presId="urn:microsoft.com/office/officeart/2005/8/layout/hList1"/>
    <dgm:cxn modelId="{8CC73041-5B67-4F7C-B453-B829DDA2382B}" type="presParOf" srcId="{D432A94B-871D-433B-8B67-95248593F158}" destId="{298A840C-4A90-4965-8317-4CE942FBD989}" srcOrd="0" destOrd="0" presId="urn:microsoft.com/office/officeart/2005/8/layout/hList1"/>
    <dgm:cxn modelId="{17F904E2-65E3-4FB7-A7B7-A478DA7FB14E}" type="presParOf" srcId="{D432A94B-871D-433B-8B67-95248593F158}" destId="{44FA1635-E70E-4D37-83E3-3316FEE79DE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B184112D-53FE-4D84-AA00-83DDCA9C16D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76125C9C-B9D6-4FA9-BDE6-EB45F912DB71}">
      <dgm:prSet custT="1"/>
      <dgm:spPr/>
      <dgm:t>
        <a:bodyPr/>
        <a:lstStyle/>
        <a:p>
          <a:r>
            <a:rPr lang="en-US" sz="2400" baseline="0"/>
            <a:t>Reducing Fragmentation</a:t>
          </a:r>
          <a:endParaRPr lang="en-US" sz="2400"/>
        </a:p>
      </dgm:t>
    </dgm:pt>
    <dgm:pt modelId="{025DEA07-ACF8-42B3-BC78-68340A67821A}" type="parTrans" cxnId="{11A7313B-5B2D-4B7D-8D33-AC00191F474F}">
      <dgm:prSet/>
      <dgm:spPr/>
      <dgm:t>
        <a:bodyPr/>
        <a:lstStyle/>
        <a:p>
          <a:endParaRPr lang="en-US"/>
        </a:p>
      </dgm:t>
    </dgm:pt>
    <dgm:pt modelId="{639DFF84-3C98-4288-AC40-5BD550E5309E}" type="sibTrans" cxnId="{11A7313B-5B2D-4B7D-8D33-AC00191F474F}">
      <dgm:prSet/>
      <dgm:spPr/>
      <dgm:t>
        <a:bodyPr/>
        <a:lstStyle/>
        <a:p>
          <a:endParaRPr lang="en-US"/>
        </a:p>
      </dgm:t>
    </dgm:pt>
    <dgm:pt modelId="{AAF7EF01-58D7-48A5-A4E4-6AF069AD5FC2}">
      <dgm:prSet custT="1"/>
      <dgm:spPr/>
      <dgm:t>
        <a:bodyPr/>
        <a:lstStyle/>
        <a:p>
          <a:r>
            <a:rPr lang="en-US" sz="2400" baseline="0"/>
            <a:t>Using an ascending key (not always possible).</a:t>
          </a:r>
          <a:endParaRPr lang="en-US" sz="2400"/>
        </a:p>
      </dgm:t>
    </dgm:pt>
    <dgm:pt modelId="{CCD2AEF3-25E0-46F9-8011-D4B4E5A8BBBE}" type="parTrans" cxnId="{96B76FEE-8301-4370-A2CC-5B28BF19523C}">
      <dgm:prSet/>
      <dgm:spPr/>
      <dgm:t>
        <a:bodyPr/>
        <a:lstStyle/>
        <a:p>
          <a:endParaRPr lang="en-US"/>
        </a:p>
      </dgm:t>
    </dgm:pt>
    <dgm:pt modelId="{56D18F4D-1343-467C-A51D-078D8C7BB6EE}" type="sibTrans" cxnId="{96B76FEE-8301-4370-A2CC-5B28BF19523C}">
      <dgm:prSet/>
      <dgm:spPr/>
      <dgm:t>
        <a:bodyPr/>
        <a:lstStyle/>
        <a:p>
          <a:endParaRPr lang="en-US"/>
        </a:p>
      </dgm:t>
    </dgm:pt>
    <dgm:pt modelId="{33BE99E5-517E-4A5E-8FEE-8F762922B59E}">
      <dgm:prSet custT="1"/>
      <dgm:spPr/>
      <dgm:t>
        <a:bodyPr/>
        <a:lstStyle/>
        <a:p>
          <a:r>
            <a:rPr lang="en-US" sz="2400" baseline="0" dirty="0"/>
            <a:t>Using an appropriate fill factor for the workload.</a:t>
          </a:r>
          <a:endParaRPr lang="en-US" sz="2400" dirty="0"/>
        </a:p>
      </dgm:t>
    </dgm:pt>
    <dgm:pt modelId="{9E8B8855-5E11-41C3-9BE4-7B91C21A5ECB}" type="parTrans" cxnId="{C0104F86-683F-4ACE-89AC-30C7BE9674CB}">
      <dgm:prSet/>
      <dgm:spPr/>
      <dgm:t>
        <a:bodyPr/>
        <a:lstStyle/>
        <a:p>
          <a:endParaRPr lang="en-US"/>
        </a:p>
      </dgm:t>
    </dgm:pt>
    <dgm:pt modelId="{1E23E65E-4F50-4FA2-B7D2-B9476F230E7C}" type="sibTrans" cxnId="{C0104F86-683F-4ACE-89AC-30C7BE9674CB}">
      <dgm:prSet/>
      <dgm:spPr/>
      <dgm:t>
        <a:bodyPr/>
        <a:lstStyle/>
        <a:p>
          <a:endParaRPr lang="en-US"/>
        </a:p>
      </dgm:t>
    </dgm:pt>
    <dgm:pt modelId="{51BD1014-C20D-41DE-952E-FC8BBA14DD9E}">
      <dgm:prSet custT="1"/>
      <dgm:spPr/>
      <dgm:t>
        <a:bodyPr/>
        <a:lstStyle/>
        <a:p>
          <a:r>
            <a:rPr lang="en-US" sz="2400" baseline="0"/>
            <a:t>Update in sets, rather than one at a time.</a:t>
          </a:r>
          <a:endParaRPr lang="en-US" sz="2400"/>
        </a:p>
      </dgm:t>
    </dgm:pt>
    <dgm:pt modelId="{CB9F250B-C7D7-46EC-9692-1EC53B12AB70}" type="parTrans" cxnId="{5E1E47D5-B20D-43E0-BFB2-DD783B699830}">
      <dgm:prSet/>
      <dgm:spPr/>
      <dgm:t>
        <a:bodyPr/>
        <a:lstStyle/>
        <a:p>
          <a:endParaRPr lang="en-US"/>
        </a:p>
      </dgm:t>
    </dgm:pt>
    <dgm:pt modelId="{94B1A4DA-3054-4CCA-9209-1BBF66B09DCB}" type="sibTrans" cxnId="{5E1E47D5-B20D-43E0-BFB2-DD783B699830}">
      <dgm:prSet/>
      <dgm:spPr/>
      <dgm:t>
        <a:bodyPr/>
        <a:lstStyle/>
        <a:p>
          <a:endParaRPr lang="en-US"/>
        </a:p>
      </dgm:t>
    </dgm:pt>
    <dgm:pt modelId="{CA9DC729-89BD-4F9F-8F93-1BCA7C703BE6}">
      <dgm:prSet custT="1"/>
      <dgm:spPr/>
      <dgm:t>
        <a:bodyPr/>
        <a:lstStyle/>
        <a:p>
          <a:r>
            <a:rPr lang="en-US" sz="2400" baseline="0"/>
            <a:t>Do not insert with immediate update.</a:t>
          </a:r>
          <a:endParaRPr lang="en-US" sz="2400"/>
        </a:p>
      </dgm:t>
    </dgm:pt>
    <dgm:pt modelId="{5A2259CC-2968-41EF-AABF-B37E5928CCC2}" type="parTrans" cxnId="{CA56E4B7-05BB-4589-8AD2-BC233E6F06E1}">
      <dgm:prSet/>
      <dgm:spPr/>
      <dgm:t>
        <a:bodyPr/>
        <a:lstStyle/>
        <a:p>
          <a:endParaRPr lang="en-US"/>
        </a:p>
      </dgm:t>
    </dgm:pt>
    <dgm:pt modelId="{FB9E403A-4306-4461-B9DF-881A16F6DD00}" type="sibTrans" cxnId="{CA56E4B7-05BB-4589-8AD2-BC233E6F06E1}">
      <dgm:prSet/>
      <dgm:spPr/>
      <dgm:t>
        <a:bodyPr/>
        <a:lstStyle/>
        <a:p>
          <a:endParaRPr lang="en-US"/>
        </a:p>
      </dgm:t>
    </dgm:pt>
    <dgm:pt modelId="{EC684B26-31D5-4D53-A04B-63B2F32DEB66}" type="pres">
      <dgm:prSet presAssocID="{B184112D-53FE-4D84-AA00-83DDCA9C16DB}" presName="Name0" presStyleCnt="0">
        <dgm:presLayoutVars>
          <dgm:dir/>
          <dgm:animLvl val="lvl"/>
          <dgm:resizeHandles val="exact"/>
        </dgm:presLayoutVars>
      </dgm:prSet>
      <dgm:spPr/>
    </dgm:pt>
    <dgm:pt modelId="{B0407AD7-6961-46D1-B223-94D3671CBB9A}" type="pres">
      <dgm:prSet presAssocID="{76125C9C-B9D6-4FA9-BDE6-EB45F912DB71}" presName="composite" presStyleCnt="0"/>
      <dgm:spPr/>
    </dgm:pt>
    <dgm:pt modelId="{9E739C7F-C83F-410F-9E68-E25ECBD8D6B9}" type="pres">
      <dgm:prSet presAssocID="{76125C9C-B9D6-4FA9-BDE6-EB45F912DB71}" presName="parTx" presStyleLbl="alignNode1" presStyleIdx="0" presStyleCnt="1">
        <dgm:presLayoutVars>
          <dgm:chMax val="0"/>
          <dgm:chPref val="0"/>
          <dgm:bulletEnabled val="1"/>
        </dgm:presLayoutVars>
      </dgm:prSet>
      <dgm:spPr/>
    </dgm:pt>
    <dgm:pt modelId="{3DD469B6-F40B-4C62-BAE0-FFAF84D05CDB}" type="pres">
      <dgm:prSet presAssocID="{76125C9C-B9D6-4FA9-BDE6-EB45F912DB71}" presName="desTx" presStyleLbl="alignAccFollowNode1" presStyleIdx="0" presStyleCnt="1">
        <dgm:presLayoutVars>
          <dgm:bulletEnabled val="1"/>
        </dgm:presLayoutVars>
      </dgm:prSet>
      <dgm:spPr/>
    </dgm:pt>
  </dgm:ptLst>
  <dgm:cxnLst>
    <dgm:cxn modelId="{EC4B4822-CB1A-4C26-BC4C-BEE49AFEABC3}" type="presOf" srcId="{AAF7EF01-58D7-48A5-A4E4-6AF069AD5FC2}" destId="{3DD469B6-F40B-4C62-BAE0-FFAF84D05CDB}" srcOrd="0" destOrd="0" presId="urn:microsoft.com/office/officeart/2005/8/layout/hList1"/>
    <dgm:cxn modelId="{11A7313B-5B2D-4B7D-8D33-AC00191F474F}" srcId="{B184112D-53FE-4D84-AA00-83DDCA9C16DB}" destId="{76125C9C-B9D6-4FA9-BDE6-EB45F912DB71}" srcOrd="0" destOrd="0" parTransId="{025DEA07-ACF8-42B3-BC78-68340A67821A}" sibTransId="{639DFF84-3C98-4288-AC40-5BD550E5309E}"/>
    <dgm:cxn modelId="{04D13144-9458-4687-8858-3CAFA17966AB}" type="presOf" srcId="{76125C9C-B9D6-4FA9-BDE6-EB45F912DB71}" destId="{9E739C7F-C83F-410F-9E68-E25ECBD8D6B9}" srcOrd="0" destOrd="0" presId="urn:microsoft.com/office/officeart/2005/8/layout/hList1"/>
    <dgm:cxn modelId="{EEB65A73-DEE1-47F6-A86E-F915926430D5}" type="presOf" srcId="{33BE99E5-517E-4A5E-8FEE-8F762922B59E}" destId="{3DD469B6-F40B-4C62-BAE0-FFAF84D05CDB}" srcOrd="0" destOrd="1" presId="urn:microsoft.com/office/officeart/2005/8/layout/hList1"/>
    <dgm:cxn modelId="{B946B27F-A8D2-479D-9B8E-043458294113}" type="presOf" srcId="{51BD1014-C20D-41DE-952E-FC8BBA14DD9E}" destId="{3DD469B6-F40B-4C62-BAE0-FFAF84D05CDB}" srcOrd="0" destOrd="2" presId="urn:microsoft.com/office/officeart/2005/8/layout/hList1"/>
    <dgm:cxn modelId="{C0104F86-683F-4ACE-89AC-30C7BE9674CB}" srcId="{76125C9C-B9D6-4FA9-BDE6-EB45F912DB71}" destId="{33BE99E5-517E-4A5E-8FEE-8F762922B59E}" srcOrd="1" destOrd="0" parTransId="{9E8B8855-5E11-41C3-9BE4-7B91C21A5ECB}" sibTransId="{1E23E65E-4F50-4FA2-B7D2-B9476F230E7C}"/>
    <dgm:cxn modelId="{6CB27296-D66E-473B-91ED-7A0EDA6C1143}" type="presOf" srcId="{CA9DC729-89BD-4F9F-8F93-1BCA7C703BE6}" destId="{3DD469B6-F40B-4C62-BAE0-FFAF84D05CDB}" srcOrd="0" destOrd="3" presId="urn:microsoft.com/office/officeart/2005/8/layout/hList1"/>
    <dgm:cxn modelId="{31E2C59B-CE36-4A78-BA2B-AB02DA2E7E03}" type="presOf" srcId="{B184112D-53FE-4D84-AA00-83DDCA9C16DB}" destId="{EC684B26-31D5-4D53-A04B-63B2F32DEB66}" srcOrd="0" destOrd="0" presId="urn:microsoft.com/office/officeart/2005/8/layout/hList1"/>
    <dgm:cxn modelId="{CA56E4B7-05BB-4589-8AD2-BC233E6F06E1}" srcId="{76125C9C-B9D6-4FA9-BDE6-EB45F912DB71}" destId="{CA9DC729-89BD-4F9F-8F93-1BCA7C703BE6}" srcOrd="3" destOrd="0" parTransId="{5A2259CC-2968-41EF-AABF-B37E5928CCC2}" sibTransId="{FB9E403A-4306-4461-B9DF-881A16F6DD00}"/>
    <dgm:cxn modelId="{5E1E47D5-B20D-43E0-BFB2-DD783B699830}" srcId="{76125C9C-B9D6-4FA9-BDE6-EB45F912DB71}" destId="{51BD1014-C20D-41DE-952E-FC8BBA14DD9E}" srcOrd="2" destOrd="0" parTransId="{CB9F250B-C7D7-46EC-9692-1EC53B12AB70}" sibTransId="{94B1A4DA-3054-4CCA-9209-1BBF66B09DCB}"/>
    <dgm:cxn modelId="{96B76FEE-8301-4370-A2CC-5B28BF19523C}" srcId="{76125C9C-B9D6-4FA9-BDE6-EB45F912DB71}" destId="{AAF7EF01-58D7-48A5-A4E4-6AF069AD5FC2}" srcOrd="0" destOrd="0" parTransId="{CCD2AEF3-25E0-46F9-8011-D4B4E5A8BBBE}" sibTransId="{56D18F4D-1343-467C-A51D-078D8C7BB6EE}"/>
    <dgm:cxn modelId="{0616601A-B3D5-4741-BD05-780691DCBDDC}" type="presParOf" srcId="{EC684B26-31D5-4D53-A04B-63B2F32DEB66}" destId="{B0407AD7-6961-46D1-B223-94D3671CBB9A}" srcOrd="0" destOrd="0" presId="urn:microsoft.com/office/officeart/2005/8/layout/hList1"/>
    <dgm:cxn modelId="{0E01D20C-508D-4712-A53B-FF967CE1D559}" type="presParOf" srcId="{B0407AD7-6961-46D1-B223-94D3671CBB9A}" destId="{9E739C7F-C83F-410F-9E68-E25ECBD8D6B9}" srcOrd="0" destOrd="0" presId="urn:microsoft.com/office/officeart/2005/8/layout/hList1"/>
    <dgm:cxn modelId="{49F8146C-C813-48C8-81C8-F8A61D46A65C}" type="presParOf" srcId="{B0407AD7-6961-46D1-B223-94D3671CBB9A}" destId="{3DD469B6-F40B-4C62-BAE0-FFAF84D05CD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18EEBC7-38BB-4F04-95B3-8A983EEDCF0D}"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2E87E0C8-0826-4C34-A432-578C4F85F9A7}">
      <dgm:prSet/>
      <dgm:spPr/>
      <dgm:t>
        <a:bodyPr/>
        <a:lstStyle/>
        <a:p>
          <a:r>
            <a:rPr lang="en-US" baseline="0"/>
            <a:t>SQL Server identifies indexes that would help a query’s performance</a:t>
          </a:r>
          <a:endParaRPr lang="en-US"/>
        </a:p>
      </dgm:t>
    </dgm:pt>
    <dgm:pt modelId="{28A02326-5F1D-48C6-A335-E4196C180A88}" type="parTrans" cxnId="{40303BBE-DE94-464B-B695-2558711BDDEE}">
      <dgm:prSet/>
      <dgm:spPr/>
      <dgm:t>
        <a:bodyPr/>
        <a:lstStyle/>
        <a:p>
          <a:endParaRPr lang="en-US"/>
        </a:p>
      </dgm:t>
    </dgm:pt>
    <dgm:pt modelId="{61E7604E-C3CA-4774-8F04-44DB0BB902A9}" type="sibTrans" cxnId="{40303BBE-DE94-464B-B695-2558711BDDEE}">
      <dgm:prSet/>
      <dgm:spPr/>
      <dgm:t>
        <a:bodyPr/>
        <a:lstStyle/>
        <a:p>
          <a:endParaRPr lang="en-US"/>
        </a:p>
      </dgm:t>
    </dgm:pt>
    <dgm:pt modelId="{86AB8FE3-BEDF-473F-9E73-B238997FEB19}">
      <dgm:prSet/>
      <dgm:spPr/>
      <dgm:t>
        <a:bodyPr/>
        <a:lstStyle/>
        <a:p>
          <a:r>
            <a:rPr lang="en-US" baseline="0"/>
            <a:t>The recommendation is included in the query plan</a:t>
          </a:r>
          <a:endParaRPr lang="en-US"/>
        </a:p>
      </dgm:t>
    </dgm:pt>
    <dgm:pt modelId="{D0B29510-3563-459A-9916-D252ECF0B6DA}" type="parTrans" cxnId="{B3F7691E-AC1D-4C70-9DA6-DBB35EFE3FEC}">
      <dgm:prSet/>
      <dgm:spPr/>
      <dgm:t>
        <a:bodyPr/>
        <a:lstStyle/>
        <a:p>
          <a:endParaRPr lang="en-US"/>
        </a:p>
      </dgm:t>
    </dgm:pt>
    <dgm:pt modelId="{9E493413-E503-4D29-8B8B-7E6333297FB4}" type="sibTrans" cxnId="{B3F7691E-AC1D-4C70-9DA6-DBB35EFE3FEC}">
      <dgm:prSet/>
      <dgm:spPr/>
      <dgm:t>
        <a:bodyPr/>
        <a:lstStyle/>
        <a:p>
          <a:endParaRPr lang="en-US"/>
        </a:p>
      </dgm:t>
    </dgm:pt>
    <dgm:pt modelId="{F6A983FE-35F5-4A52-9C52-ACD1DD7AE52F}">
      <dgm:prSet/>
      <dgm:spPr/>
      <dgm:t>
        <a:bodyPr/>
        <a:lstStyle/>
        <a:p>
          <a:r>
            <a:rPr lang="en-US" baseline="0"/>
            <a:t>The cost savings are aggregated in DMVs to help identify the most beneficial indexes</a:t>
          </a:r>
          <a:endParaRPr lang="en-US"/>
        </a:p>
      </dgm:t>
    </dgm:pt>
    <dgm:pt modelId="{C001EFD0-1F04-458F-A069-7C0E299FA460}" type="parTrans" cxnId="{B989312A-D8AF-4E5B-8EBB-47065C28BBEC}">
      <dgm:prSet/>
      <dgm:spPr/>
      <dgm:t>
        <a:bodyPr/>
        <a:lstStyle/>
        <a:p>
          <a:endParaRPr lang="en-US"/>
        </a:p>
      </dgm:t>
    </dgm:pt>
    <dgm:pt modelId="{D60CB129-83FA-4CBF-B745-72F5DF5DA471}" type="sibTrans" cxnId="{B989312A-D8AF-4E5B-8EBB-47065C28BBEC}">
      <dgm:prSet/>
      <dgm:spPr/>
      <dgm:t>
        <a:bodyPr/>
        <a:lstStyle/>
        <a:p>
          <a:endParaRPr lang="en-US"/>
        </a:p>
      </dgm:t>
    </dgm:pt>
    <dgm:pt modelId="{E4A790C7-B7EA-4FD3-85F3-99C1B9941490}" type="pres">
      <dgm:prSet presAssocID="{D18EEBC7-38BB-4F04-95B3-8A983EEDCF0D}" presName="linear" presStyleCnt="0">
        <dgm:presLayoutVars>
          <dgm:animLvl val="lvl"/>
          <dgm:resizeHandles val="exact"/>
        </dgm:presLayoutVars>
      </dgm:prSet>
      <dgm:spPr/>
    </dgm:pt>
    <dgm:pt modelId="{9522E747-80B4-428E-87B6-E9C0786D8DD2}" type="pres">
      <dgm:prSet presAssocID="{2E87E0C8-0826-4C34-A432-578C4F85F9A7}" presName="parentText" presStyleLbl="node1" presStyleIdx="0" presStyleCnt="3">
        <dgm:presLayoutVars>
          <dgm:chMax val="0"/>
          <dgm:bulletEnabled val="1"/>
        </dgm:presLayoutVars>
      </dgm:prSet>
      <dgm:spPr/>
    </dgm:pt>
    <dgm:pt modelId="{6867DA38-54C4-4A96-830E-7C3783A91059}" type="pres">
      <dgm:prSet presAssocID="{61E7604E-C3CA-4774-8F04-44DB0BB902A9}" presName="spacer" presStyleCnt="0"/>
      <dgm:spPr/>
    </dgm:pt>
    <dgm:pt modelId="{167455E2-0B5B-461E-A12B-4FA37292F744}" type="pres">
      <dgm:prSet presAssocID="{86AB8FE3-BEDF-473F-9E73-B238997FEB19}" presName="parentText" presStyleLbl="node1" presStyleIdx="1" presStyleCnt="3">
        <dgm:presLayoutVars>
          <dgm:chMax val="0"/>
          <dgm:bulletEnabled val="1"/>
        </dgm:presLayoutVars>
      </dgm:prSet>
      <dgm:spPr/>
    </dgm:pt>
    <dgm:pt modelId="{B4C1011B-9D6A-4BDF-9C77-A244A0277198}" type="pres">
      <dgm:prSet presAssocID="{9E493413-E503-4D29-8B8B-7E6333297FB4}" presName="spacer" presStyleCnt="0"/>
      <dgm:spPr/>
    </dgm:pt>
    <dgm:pt modelId="{B0F7C242-ADFC-411C-ADF7-95479B00B896}" type="pres">
      <dgm:prSet presAssocID="{F6A983FE-35F5-4A52-9C52-ACD1DD7AE52F}" presName="parentText" presStyleLbl="node1" presStyleIdx="2" presStyleCnt="3">
        <dgm:presLayoutVars>
          <dgm:chMax val="0"/>
          <dgm:bulletEnabled val="1"/>
        </dgm:presLayoutVars>
      </dgm:prSet>
      <dgm:spPr/>
    </dgm:pt>
  </dgm:ptLst>
  <dgm:cxnLst>
    <dgm:cxn modelId="{B3F7691E-AC1D-4C70-9DA6-DBB35EFE3FEC}" srcId="{D18EEBC7-38BB-4F04-95B3-8A983EEDCF0D}" destId="{86AB8FE3-BEDF-473F-9E73-B238997FEB19}" srcOrd="1" destOrd="0" parTransId="{D0B29510-3563-459A-9916-D252ECF0B6DA}" sibTransId="{9E493413-E503-4D29-8B8B-7E6333297FB4}"/>
    <dgm:cxn modelId="{B4A7AE29-8D96-42EF-A1B7-F0AB58FC270C}" type="presOf" srcId="{D18EEBC7-38BB-4F04-95B3-8A983EEDCF0D}" destId="{E4A790C7-B7EA-4FD3-85F3-99C1B9941490}" srcOrd="0" destOrd="0" presId="urn:microsoft.com/office/officeart/2005/8/layout/vList2"/>
    <dgm:cxn modelId="{B989312A-D8AF-4E5B-8EBB-47065C28BBEC}" srcId="{D18EEBC7-38BB-4F04-95B3-8A983EEDCF0D}" destId="{F6A983FE-35F5-4A52-9C52-ACD1DD7AE52F}" srcOrd="2" destOrd="0" parTransId="{C001EFD0-1F04-458F-A069-7C0E299FA460}" sibTransId="{D60CB129-83FA-4CBF-B745-72F5DF5DA471}"/>
    <dgm:cxn modelId="{9F00535F-7355-4B45-9971-331E80FCA465}" type="presOf" srcId="{F6A983FE-35F5-4A52-9C52-ACD1DD7AE52F}" destId="{B0F7C242-ADFC-411C-ADF7-95479B00B896}" srcOrd="0" destOrd="0" presId="urn:microsoft.com/office/officeart/2005/8/layout/vList2"/>
    <dgm:cxn modelId="{489B90B0-2B4D-46C0-8890-4A41327FD863}" type="presOf" srcId="{2E87E0C8-0826-4C34-A432-578C4F85F9A7}" destId="{9522E747-80B4-428E-87B6-E9C0786D8DD2}" srcOrd="0" destOrd="0" presId="urn:microsoft.com/office/officeart/2005/8/layout/vList2"/>
    <dgm:cxn modelId="{40303BBE-DE94-464B-B695-2558711BDDEE}" srcId="{D18EEBC7-38BB-4F04-95B3-8A983EEDCF0D}" destId="{2E87E0C8-0826-4C34-A432-578C4F85F9A7}" srcOrd="0" destOrd="0" parTransId="{28A02326-5F1D-48C6-A335-E4196C180A88}" sibTransId="{61E7604E-C3CA-4774-8F04-44DB0BB902A9}"/>
    <dgm:cxn modelId="{0DC780CD-D2D1-4892-B3DF-3CC560BD654C}" type="presOf" srcId="{86AB8FE3-BEDF-473F-9E73-B238997FEB19}" destId="{167455E2-0B5B-461E-A12B-4FA37292F744}" srcOrd="0" destOrd="0" presId="urn:microsoft.com/office/officeart/2005/8/layout/vList2"/>
    <dgm:cxn modelId="{18343F70-EF7E-4E3A-8693-CAFB34835F42}" type="presParOf" srcId="{E4A790C7-B7EA-4FD3-85F3-99C1B9941490}" destId="{9522E747-80B4-428E-87B6-E9C0786D8DD2}" srcOrd="0" destOrd="0" presId="urn:microsoft.com/office/officeart/2005/8/layout/vList2"/>
    <dgm:cxn modelId="{8DEC8522-F07E-4F44-A012-0D3C3908AD83}" type="presParOf" srcId="{E4A790C7-B7EA-4FD3-85F3-99C1B9941490}" destId="{6867DA38-54C4-4A96-830E-7C3783A91059}" srcOrd="1" destOrd="0" presId="urn:microsoft.com/office/officeart/2005/8/layout/vList2"/>
    <dgm:cxn modelId="{EEC2CE84-D4E2-40A7-AC69-5C96155181FE}" type="presParOf" srcId="{E4A790C7-B7EA-4FD3-85F3-99C1B9941490}" destId="{167455E2-0B5B-461E-A12B-4FA37292F744}" srcOrd="2" destOrd="0" presId="urn:microsoft.com/office/officeart/2005/8/layout/vList2"/>
    <dgm:cxn modelId="{DF8FA68C-F2C7-40C1-BC7E-89EE5919E7F4}" type="presParOf" srcId="{E4A790C7-B7EA-4FD3-85F3-99C1B9941490}" destId="{B4C1011B-9D6A-4BDF-9C77-A244A0277198}" srcOrd="3" destOrd="0" presId="urn:microsoft.com/office/officeart/2005/8/layout/vList2"/>
    <dgm:cxn modelId="{13DE3798-15F0-4523-A08C-DE6A389D383F}" type="presParOf" srcId="{E4A790C7-B7EA-4FD3-85F3-99C1B9941490}" destId="{B0F7C242-ADFC-411C-ADF7-95479B00B89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B184112D-53FE-4D84-AA00-83DDCA9C16D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2F9694EC-2A4C-4627-81B1-447312D9AA61}">
      <dgm:prSet custT="1"/>
      <dgm:spPr/>
      <dgm:t>
        <a:bodyPr/>
        <a:lstStyle/>
        <a:p>
          <a:r>
            <a:rPr lang="en-US" sz="2400" baseline="0" dirty="0"/>
            <a:t>Following sources can help you choosing indexes</a:t>
          </a:r>
          <a:endParaRPr lang="en-US" sz="2400" dirty="0"/>
        </a:p>
      </dgm:t>
    </dgm:pt>
    <dgm:pt modelId="{18929B48-9C47-42BB-B95E-01EE6D44133A}" type="parTrans" cxnId="{B5FD5AF1-FACE-4326-8749-FB9170849F63}">
      <dgm:prSet/>
      <dgm:spPr/>
      <dgm:t>
        <a:bodyPr/>
        <a:lstStyle/>
        <a:p>
          <a:endParaRPr lang="en-US"/>
        </a:p>
      </dgm:t>
    </dgm:pt>
    <dgm:pt modelId="{E150C2E6-9A36-47F3-A39A-C3408F7E0D27}" type="sibTrans" cxnId="{B5FD5AF1-FACE-4326-8749-FB9170849F63}">
      <dgm:prSet/>
      <dgm:spPr/>
      <dgm:t>
        <a:bodyPr/>
        <a:lstStyle/>
        <a:p>
          <a:endParaRPr lang="en-US"/>
        </a:p>
      </dgm:t>
    </dgm:pt>
    <dgm:pt modelId="{674A0CB8-77F7-442B-829F-3EA80344A915}">
      <dgm:prSet custT="1"/>
      <dgm:spPr/>
      <dgm:t>
        <a:bodyPr/>
        <a:lstStyle/>
        <a:p>
          <a:r>
            <a:rPr lang="en-US" sz="2400" baseline="0"/>
            <a:t>Missing Index recommendations</a:t>
          </a:r>
          <a:endParaRPr lang="en-US" sz="2400"/>
        </a:p>
      </dgm:t>
    </dgm:pt>
    <dgm:pt modelId="{709290F9-98ED-4E29-A811-6B6E673F548F}" type="parTrans" cxnId="{5BB5E317-D01F-4A7D-B806-C97A2A8C68DD}">
      <dgm:prSet/>
      <dgm:spPr/>
      <dgm:t>
        <a:bodyPr/>
        <a:lstStyle/>
        <a:p>
          <a:endParaRPr lang="en-US"/>
        </a:p>
      </dgm:t>
    </dgm:pt>
    <dgm:pt modelId="{67716F09-5DB3-4C7B-AFF5-1F141B388A55}" type="sibTrans" cxnId="{5BB5E317-D01F-4A7D-B806-C97A2A8C68DD}">
      <dgm:prSet/>
      <dgm:spPr/>
      <dgm:t>
        <a:bodyPr/>
        <a:lstStyle/>
        <a:p>
          <a:endParaRPr lang="en-US"/>
        </a:p>
      </dgm:t>
    </dgm:pt>
    <dgm:pt modelId="{3F3B475D-B5C0-4CC5-B441-02973B026242}">
      <dgm:prSet custT="1"/>
      <dgm:spPr/>
      <dgm:t>
        <a:bodyPr/>
        <a:lstStyle/>
        <a:p>
          <a:r>
            <a:rPr lang="en-US" sz="2400" baseline="0">
              <a:solidFill>
                <a:srgbClr val="107C10"/>
              </a:solidFill>
            </a:rPr>
            <a:t>sys.dm_db_index_usage_stats</a:t>
          </a:r>
          <a:endParaRPr lang="en-US" sz="2400">
            <a:solidFill>
              <a:srgbClr val="107C10"/>
            </a:solidFill>
          </a:endParaRPr>
        </a:p>
      </dgm:t>
    </dgm:pt>
    <dgm:pt modelId="{97465473-4DD5-4005-9C71-FC24402E5902}" type="parTrans" cxnId="{FC7EE198-E309-4C85-BE39-589244C36C33}">
      <dgm:prSet/>
      <dgm:spPr/>
      <dgm:t>
        <a:bodyPr/>
        <a:lstStyle/>
        <a:p>
          <a:endParaRPr lang="en-US"/>
        </a:p>
      </dgm:t>
    </dgm:pt>
    <dgm:pt modelId="{84E7B7A3-E6BE-44C3-B74B-B20D06E3B0EB}" type="sibTrans" cxnId="{FC7EE198-E309-4C85-BE39-589244C36C33}">
      <dgm:prSet/>
      <dgm:spPr/>
      <dgm:t>
        <a:bodyPr/>
        <a:lstStyle/>
        <a:p>
          <a:endParaRPr lang="en-US"/>
        </a:p>
      </dgm:t>
    </dgm:pt>
    <dgm:pt modelId="{CD24FBC8-3DED-4B5A-97B9-EB08E778EC35}">
      <dgm:prSet custT="1"/>
      <dgm:spPr/>
      <dgm:t>
        <a:bodyPr/>
        <a:lstStyle/>
        <a:p>
          <a:r>
            <a:rPr lang="en-US" sz="2400" baseline="0"/>
            <a:t>Database Tuning Advisor</a:t>
          </a:r>
          <a:endParaRPr lang="en-US" sz="2400"/>
        </a:p>
      </dgm:t>
    </dgm:pt>
    <dgm:pt modelId="{FA3DB319-D3D2-4E59-8A47-32970F3D988B}" type="parTrans" cxnId="{3DADE611-D6EB-4F73-8BE9-7CACAD085004}">
      <dgm:prSet/>
      <dgm:spPr/>
      <dgm:t>
        <a:bodyPr/>
        <a:lstStyle/>
        <a:p>
          <a:endParaRPr lang="en-US"/>
        </a:p>
      </dgm:t>
    </dgm:pt>
    <dgm:pt modelId="{1DAAC5F5-9BF2-4013-978D-85ABA659AD91}" type="sibTrans" cxnId="{3DADE611-D6EB-4F73-8BE9-7CACAD085004}">
      <dgm:prSet/>
      <dgm:spPr/>
      <dgm:t>
        <a:bodyPr/>
        <a:lstStyle/>
        <a:p>
          <a:endParaRPr lang="en-US"/>
        </a:p>
      </dgm:t>
    </dgm:pt>
    <dgm:pt modelId="{EC684B26-31D5-4D53-A04B-63B2F32DEB66}" type="pres">
      <dgm:prSet presAssocID="{B184112D-53FE-4D84-AA00-83DDCA9C16DB}" presName="Name0" presStyleCnt="0">
        <dgm:presLayoutVars>
          <dgm:dir/>
          <dgm:animLvl val="lvl"/>
          <dgm:resizeHandles val="exact"/>
        </dgm:presLayoutVars>
      </dgm:prSet>
      <dgm:spPr/>
    </dgm:pt>
    <dgm:pt modelId="{3C524684-DDB7-4F25-BDC6-08D3084063FD}" type="pres">
      <dgm:prSet presAssocID="{2F9694EC-2A4C-4627-81B1-447312D9AA61}" presName="composite" presStyleCnt="0"/>
      <dgm:spPr/>
    </dgm:pt>
    <dgm:pt modelId="{D472A51A-ECBF-4B78-84E5-BADD01830D77}" type="pres">
      <dgm:prSet presAssocID="{2F9694EC-2A4C-4627-81B1-447312D9AA61}" presName="parTx" presStyleLbl="alignNode1" presStyleIdx="0" presStyleCnt="1">
        <dgm:presLayoutVars>
          <dgm:chMax val="0"/>
          <dgm:chPref val="0"/>
          <dgm:bulletEnabled val="1"/>
        </dgm:presLayoutVars>
      </dgm:prSet>
      <dgm:spPr/>
    </dgm:pt>
    <dgm:pt modelId="{60D474A3-90FA-49E3-B0D7-1F7FC6CEFF2A}" type="pres">
      <dgm:prSet presAssocID="{2F9694EC-2A4C-4627-81B1-447312D9AA61}" presName="desTx" presStyleLbl="alignAccFollowNode1" presStyleIdx="0" presStyleCnt="1" custLinFactNeighborX="0" custLinFactNeighborY="-2990">
        <dgm:presLayoutVars>
          <dgm:bulletEnabled val="1"/>
        </dgm:presLayoutVars>
      </dgm:prSet>
      <dgm:spPr/>
    </dgm:pt>
  </dgm:ptLst>
  <dgm:cxnLst>
    <dgm:cxn modelId="{A7279F07-003F-447E-9860-D44BA507606E}" type="presOf" srcId="{3F3B475D-B5C0-4CC5-B441-02973B026242}" destId="{60D474A3-90FA-49E3-B0D7-1F7FC6CEFF2A}" srcOrd="0" destOrd="1" presId="urn:microsoft.com/office/officeart/2005/8/layout/hList1"/>
    <dgm:cxn modelId="{3DADE611-D6EB-4F73-8BE9-7CACAD085004}" srcId="{2F9694EC-2A4C-4627-81B1-447312D9AA61}" destId="{CD24FBC8-3DED-4B5A-97B9-EB08E778EC35}" srcOrd="2" destOrd="0" parTransId="{FA3DB319-D3D2-4E59-8A47-32970F3D988B}" sibTransId="{1DAAC5F5-9BF2-4013-978D-85ABA659AD91}"/>
    <dgm:cxn modelId="{5BB5E317-D01F-4A7D-B806-C97A2A8C68DD}" srcId="{2F9694EC-2A4C-4627-81B1-447312D9AA61}" destId="{674A0CB8-77F7-442B-829F-3EA80344A915}" srcOrd="0" destOrd="0" parTransId="{709290F9-98ED-4E29-A811-6B6E673F548F}" sibTransId="{67716F09-5DB3-4C7B-AFF5-1F141B388A55}"/>
    <dgm:cxn modelId="{B693F71F-A52D-49D1-A5B7-CCF0D6327916}" type="presOf" srcId="{674A0CB8-77F7-442B-829F-3EA80344A915}" destId="{60D474A3-90FA-49E3-B0D7-1F7FC6CEFF2A}" srcOrd="0" destOrd="0" presId="urn:microsoft.com/office/officeart/2005/8/layout/hList1"/>
    <dgm:cxn modelId="{9E203554-9C74-448B-8484-742A1E0777C5}" type="presOf" srcId="{2F9694EC-2A4C-4627-81B1-447312D9AA61}" destId="{D472A51A-ECBF-4B78-84E5-BADD01830D77}" srcOrd="0" destOrd="0" presId="urn:microsoft.com/office/officeart/2005/8/layout/hList1"/>
    <dgm:cxn modelId="{FC7EE198-E309-4C85-BE39-589244C36C33}" srcId="{2F9694EC-2A4C-4627-81B1-447312D9AA61}" destId="{3F3B475D-B5C0-4CC5-B441-02973B026242}" srcOrd="1" destOrd="0" parTransId="{97465473-4DD5-4005-9C71-FC24402E5902}" sibTransId="{84E7B7A3-E6BE-44C3-B74B-B20D06E3B0EB}"/>
    <dgm:cxn modelId="{31E2C59B-CE36-4A78-BA2B-AB02DA2E7E03}" type="presOf" srcId="{B184112D-53FE-4D84-AA00-83DDCA9C16DB}" destId="{EC684B26-31D5-4D53-A04B-63B2F32DEB66}" srcOrd="0" destOrd="0" presId="urn:microsoft.com/office/officeart/2005/8/layout/hList1"/>
    <dgm:cxn modelId="{416DF3EB-88C0-40E5-9058-C5A7655121B4}" type="presOf" srcId="{CD24FBC8-3DED-4B5A-97B9-EB08E778EC35}" destId="{60D474A3-90FA-49E3-B0D7-1F7FC6CEFF2A}" srcOrd="0" destOrd="2" presId="urn:microsoft.com/office/officeart/2005/8/layout/hList1"/>
    <dgm:cxn modelId="{B5FD5AF1-FACE-4326-8749-FB9170849F63}" srcId="{B184112D-53FE-4D84-AA00-83DDCA9C16DB}" destId="{2F9694EC-2A4C-4627-81B1-447312D9AA61}" srcOrd="0" destOrd="0" parTransId="{18929B48-9C47-42BB-B95E-01EE6D44133A}" sibTransId="{E150C2E6-9A36-47F3-A39A-C3408F7E0D27}"/>
    <dgm:cxn modelId="{11DCE027-E6BD-450A-8F6D-BD783E64BD43}" type="presParOf" srcId="{EC684B26-31D5-4D53-A04B-63B2F32DEB66}" destId="{3C524684-DDB7-4F25-BDC6-08D3084063FD}" srcOrd="0" destOrd="0" presId="urn:microsoft.com/office/officeart/2005/8/layout/hList1"/>
    <dgm:cxn modelId="{88E6339A-4A44-401F-A539-30E0A4260366}" type="presParOf" srcId="{3C524684-DDB7-4F25-BDC6-08D3084063FD}" destId="{D472A51A-ECBF-4B78-84E5-BADD01830D77}" srcOrd="0" destOrd="0" presId="urn:microsoft.com/office/officeart/2005/8/layout/hList1"/>
    <dgm:cxn modelId="{EF19C448-38D4-4952-B176-ECA193766D1F}" type="presParOf" srcId="{3C524684-DDB7-4F25-BDC6-08D3084063FD}" destId="{60D474A3-90FA-49E3-B0D7-1F7FC6CEFF2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9D6387-6075-4E90-8E26-3AAA0EE7CFD2}"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41556ACD-E1A5-4B29-9504-D8AEB7027567}">
      <dgm:prSet/>
      <dgm:spPr/>
      <dgm:t>
        <a:bodyPr/>
        <a:lstStyle/>
        <a:p>
          <a:r>
            <a:rPr lang="en-US" baseline="0" dirty="0"/>
            <a:t>A SARGable item in a search predicate is able to use an index.</a:t>
          </a:r>
          <a:endParaRPr lang="en-US" dirty="0"/>
        </a:p>
      </dgm:t>
    </dgm:pt>
    <dgm:pt modelId="{1D7A3BE8-E80B-4BE2-A87A-BEAFA31A6DD0}" type="parTrans" cxnId="{9D3FDC87-EE97-4CFE-A8BD-CF40E172EE28}">
      <dgm:prSet/>
      <dgm:spPr/>
      <dgm:t>
        <a:bodyPr/>
        <a:lstStyle/>
        <a:p>
          <a:endParaRPr lang="en-US"/>
        </a:p>
      </dgm:t>
    </dgm:pt>
    <dgm:pt modelId="{443507A1-71ED-4468-9819-0A0F5E022450}" type="sibTrans" cxnId="{9D3FDC87-EE97-4CFE-A8BD-CF40E172EE28}">
      <dgm:prSet/>
      <dgm:spPr/>
      <dgm:t>
        <a:bodyPr/>
        <a:lstStyle/>
        <a:p>
          <a:endParaRPr lang="en-US"/>
        </a:p>
      </dgm:t>
    </dgm:pt>
    <dgm:pt modelId="{C1D0D6FB-FF27-40EF-BFAB-B5FA937AF5DE}">
      <dgm:prSet/>
      <dgm:spPr/>
      <dgm:t>
        <a:bodyPr/>
        <a:lstStyle/>
        <a:p>
          <a:r>
            <a:rPr lang="en-US" baseline="0"/>
            <a:t>Non-SARGable expressions can significantly slow down queries.</a:t>
          </a:r>
          <a:endParaRPr lang="en-US"/>
        </a:p>
      </dgm:t>
    </dgm:pt>
    <dgm:pt modelId="{5BD9F90A-FB0B-4EB0-85D6-692EC71BD725}" type="parTrans" cxnId="{B5AB6F17-40F0-44E0-BE02-7D84ADD42834}">
      <dgm:prSet/>
      <dgm:spPr/>
      <dgm:t>
        <a:bodyPr/>
        <a:lstStyle/>
        <a:p>
          <a:endParaRPr lang="en-US"/>
        </a:p>
      </dgm:t>
    </dgm:pt>
    <dgm:pt modelId="{9B7210CF-49AF-4DFC-9133-87F598F4A2F0}" type="sibTrans" cxnId="{B5AB6F17-40F0-44E0-BE02-7D84ADD42834}">
      <dgm:prSet/>
      <dgm:spPr/>
      <dgm:t>
        <a:bodyPr/>
        <a:lstStyle/>
        <a:p>
          <a:endParaRPr lang="en-US"/>
        </a:p>
      </dgm:t>
    </dgm:pt>
    <dgm:pt modelId="{7EAA3670-4AA8-484A-A0FE-E8E7967012E9}" type="pres">
      <dgm:prSet presAssocID="{ED9D6387-6075-4E90-8E26-3AAA0EE7CFD2}" presName="diagram" presStyleCnt="0">
        <dgm:presLayoutVars>
          <dgm:dir/>
          <dgm:resizeHandles val="exact"/>
        </dgm:presLayoutVars>
      </dgm:prSet>
      <dgm:spPr/>
    </dgm:pt>
    <dgm:pt modelId="{ADAE6EBF-D298-4DB4-A7C3-B65BC6EDA707}" type="pres">
      <dgm:prSet presAssocID="{41556ACD-E1A5-4B29-9504-D8AEB7027567}" presName="node" presStyleLbl="node1" presStyleIdx="0" presStyleCnt="2" custScaleX="124514" custLinFactNeighborX="1342" custLinFactNeighborY="-137">
        <dgm:presLayoutVars>
          <dgm:bulletEnabled val="1"/>
        </dgm:presLayoutVars>
      </dgm:prSet>
      <dgm:spPr/>
    </dgm:pt>
    <dgm:pt modelId="{4843006F-0D0F-4241-942D-91630C517E8E}" type="pres">
      <dgm:prSet presAssocID="{443507A1-71ED-4468-9819-0A0F5E022450}" presName="sibTrans" presStyleCnt="0"/>
      <dgm:spPr/>
    </dgm:pt>
    <dgm:pt modelId="{1D82B2A2-337A-42B0-996F-DE3C71434FA6}" type="pres">
      <dgm:prSet presAssocID="{C1D0D6FB-FF27-40EF-BFAB-B5FA937AF5DE}" presName="node" presStyleLbl="node1" presStyleIdx="1" presStyleCnt="2" custScaleX="124514">
        <dgm:presLayoutVars>
          <dgm:bulletEnabled val="1"/>
        </dgm:presLayoutVars>
      </dgm:prSet>
      <dgm:spPr/>
    </dgm:pt>
  </dgm:ptLst>
  <dgm:cxnLst>
    <dgm:cxn modelId="{B0A27E14-5DA0-4F67-8D90-1DB786AB442C}" type="presOf" srcId="{C1D0D6FB-FF27-40EF-BFAB-B5FA937AF5DE}" destId="{1D82B2A2-337A-42B0-996F-DE3C71434FA6}" srcOrd="0" destOrd="0" presId="urn:microsoft.com/office/officeart/2005/8/layout/default"/>
    <dgm:cxn modelId="{B5AB6F17-40F0-44E0-BE02-7D84ADD42834}" srcId="{ED9D6387-6075-4E90-8E26-3AAA0EE7CFD2}" destId="{C1D0D6FB-FF27-40EF-BFAB-B5FA937AF5DE}" srcOrd="1" destOrd="0" parTransId="{5BD9F90A-FB0B-4EB0-85D6-692EC71BD725}" sibTransId="{9B7210CF-49AF-4DFC-9133-87F598F4A2F0}"/>
    <dgm:cxn modelId="{F5752E4B-8F4D-4ABC-B81B-984E21641E5E}" type="presOf" srcId="{41556ACD-E1A5-4B29-9504-D8AEB7027567}" destId="{ADAE6EBF-D298-4DB4-A7C3-B65BC6EDA707}" srcOrd="0" destOrd="0" presId="urn:microsoft.com/office/officeart/2005/8/layout/default"/>
    <dgm:cxn modelId="{9D3FDC87-EE97-4CFE-A8BD-CF40E172EE28}" srcId="{ED9D6387-6075-4E90-8E26-3AAA0EE7CFD2}" destId="{41556ACD-E1A5-4B29-9504-D8AEB7027567}" srcOrd="0" destOrd="0" parTransId="{1D7A3BE8-E80B-4BE2-A87A-BEAFA31A6DD0}" sibTransId="{443507A1-71ED-4468-9819-0A0F5E022450}"/>
    <dgm:cxn modelId="{E23289B7-6F5C-48AA-98E9-87F2D7EEEB49}" type="presOf" srcId="{ED9D6387-6075-4E90-8E26-3AAA0EE7CFD2}" destId="{7EAA3670-4AA8-484A-A0FE-E8E7967012E9}" srcOrd="0" destOrd="0" presId="urn:microsoft.com/office/officeart/2005/8/layout/default"/>
    <dgm:cxn modelId="{85EC6B73-7A41-4C29-B32F-ABBBB8B57340}" type="presParOf" srcId="{7EAA3670-4AA8-484A-A0FE-E8E7967012E9}" destId="{ADAE6EBF-D298-4DB4-A7C3-B65BC6EDA707}" srcOrd="0" destOrd="0" presId="urn:microsoft.com/office/officeart/2005/8/layout/default"/>
    <dgm:cxn modelId="{89049D09-C6CA-4AE0-A81C-27831ADB5510}" type="presParOf" srcId="{7EAA3670-4AA8-484A-A0FE-E8E7967012E9}" destId="{4843006F-0D0F-4241-942D-91630C517E8E}" srcOrd="1" destOrd="0" presId="urn:microsoft.com/office/officeart/2005/8/layout/default"/>
    <dgm:cxn modelId="{D5F16C7A-FC52-4ABE-BD91-93EF93E2B0D6}" type="presParOf" srcId="{7EAA3670-4AA8-484A-A0FE-E8E7967012E9}" destId="{1D82B2A2-337A-42B0-996F-DE3C71434FA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01A02499-57E0-47BE-84E6-57262875B4C7}"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84AA017D-0121-4570-9E34-E95747196FDC}">
      <dgm:prSet/>
      <dgm:spPr/>
      <dgm:t>
        <a:bodyPr/>
        <a:lstStyle/>
        <a:p>
          <a:r>
            <a:rPr lang="en-US" baseline="0" dirty="0"/>
            <a:t>Statistics contain statistical information about distribution of values in one or more columns of a table or index. </a:t>
          </a:r>
        </a:p>
        <a:p>
          <a:r>
            <a:rPr lang="en-US" baseline="0" dirty="0"/>
            <a:t> It is stored as binary large objects (BLOBs).</a:t>
          </a:r>
          <a:endParaRPr lang="en-US" dirty="0"/>
        </a:p>
      </dgm:t>
    </dgm:pt>
    <dgm:pt modelId="{714C315D-96BB-47C7-BA27-90FD8D012758}" type="parTrans" cxnId="{3662DA45-9302-416A-B8D8-7430B472B93B}">
      <dgm:prSet/>
      <dgm:spPr/>
      <dgm:t>
        <a:bodyPr/>
        <a:lstStyle/>
        <a:p>
          <a:endParaRPr lang="en-US"/>
        </a:p>
      </dgm:t>
    </dgm:pt>
    <dgm:pt modelId="{77ACBA19-E95B-45DE-A83D-AE2E029BD174}" type="sibTrans" cxnId="{3662DA45-9302-416A-B8D8-7430B472B93B}">
      <dgm:prSet/>
      <dgm:spPr/>
      <dgm:t>
        <a:bodyPr/>
        <a:lstStyle/>
        <a:p>
          <a:endParaRPr lang="en-US"/>
        </a:p>
      </dgm:t>
    </dgm:pt>
    <dgm:pt modelId="{1DFC1DAA-BF98-4B44-BDB1-C3E9532B04F6}">
      <dgm:prSet/>
      <dgm:spPr/>
      <dgm:t>
        <a:bodyPr/>
        <a:lstStyle/>
        <a:p>
          <a:r>
            <a:rPr lang="en-US" baseline="0" dirty="0"/>
            <a:t>It is used by the Query Optimizer (QO) to estimate the </a:t>
          </a:r>
          <a:r>
            <a:rPr lang="en-US" i="1" baseline="0" dirty="0"/>
            <a:t>cardinality</a:t>
          </a:r>
          <a:r>
            <a:rPr lang="en-US" baseline="0" dirty="0"/>
            <a:t>, or number of rows, in the query result, and enable the creation of high-quality query plans. </a:t>
          </a:r>
          <a:endParaRPr lang="en-US" dirty="0"/>
        </a:p>
      </dgm:t>
    </dgm:pt>
    <dgm:pt modelId="{BA46B7E1-6466-4789-A39C-50EF3DBB3477}" type="parTrans" cxnId="{20AD8491-774A-4068-BF1D-7A8F1C6F3DE9}">
      <dgm:prSet/>
      <dgm:spPr/>
      <dgm:t>
        <a:bodyPr/>
        <a:lstStyle/>
        <a:p>
          <a:endParaRPr lang="en-US"/>
        </a:p>
      </dgm:t>
    </dgm:pt>
    <dgm:pt modelId="{6036103F-582D-4EF9-873D-422267C9E273}" type="sibTrans" cxnId="{20AD8491-774A-4068-BF1D-7A8F1C6F3DE9}">
      <dgm:prSet/>
      <dgm:spPr/>
      <dgm:t>
        <a:bodyPr/>
        <a:lstStyle/>
        <a:p>
          <a:endParaRPr lang="en-US"/>
        </a:p>
      </dgm:t>
    </dgm:pt>
    <dgm:pt modelId="{FFCE293E-524C-44A9-84F3-D6006A07242B}" type="pres">
      <dgm:prSet presAssocID="{01A02499-57E0-47BE-84E6-57262875B4C7}" presName="diagram" presStyleCnt="0">
        <dgm:presLayoutVars>
          <dgm:dir/>
          <dgm:resizeHandles val="exact"/>
        </dgm:presLayoutVars>
      </dgm:prSet>
      <dgm:spPr/>
    </dgm:pt>
    <dgm:pt modelId="{DA5B29CC-C442-4A63-BD6F-946AE0D2934E}" type="pres">
      <dgm:prSet presAssocID="{84AA017D-0121-4570-9E34-E95747196FDC}" presName="node" presStyleLbl="node1" presStyleIdx="0" presStyleCnt="2" custScaleX="148715">
        <dgm:presLayoutVars>
          <dgm:bulletEnabled val="1"/>
        </dgm:presLayoutVars>
      </dgm:prSet>
      <dgm:spPr/>
    </dgm:pt>
    <dgm:pt modelId="{9C06A65D-72BF-4AFF-9C38-1FD69EC0516B}" type="pres">
      <dgm:prSet presAssocID="{77ACBA19-E95B-45DE-A83D-AE2E029BD174}" presName="sibTrans" presStyleCnt="0"/>
      <dgm:spPr/>
    </dgm:pt>
    <dgm:pt modelId="{1DF71DE3-4030-4E11-8773-A3C326979245}" type="pres">
      <dgm:prSet presAssocID="{1DFC1DAA-BF98-4B44-BDB1-C3E9532B04F6}" presName="node" presStyleLbl="node1" presStyleIdx="1" presStyleCnt="2" custScaleX="148715">
        <dgm:presLayoutVars>
          <dgm:bulletEnabled val="1"/>
        </dgm:presLayoutVars>
      </dgm:prSet>
      <dgm:spPr/>
    </dgm:pt>
  </dgm:ptLst>
  <dgm:cxnLst>
    <dgm:cxn modelId="{749E5731-4B9B-4665-9887-2DBC19A30382}" type="presOf" srcId="{1DFC1DAA-BF98-4B44-BDB1-C3E9532B04F6}" destId="{1DF71DE3-4030-4E11-8773-A3C326979245}" srcOrd="0" destOrd="0" presId="urn:microsoft.com/office/officeart/2005/8/layout/default"/>
    <dgm:cxn modelId="{3662DA45-9302-416A-B8D8-7430B472B93B}" srcId="{01A02499-57E0-47BE-84E6-57262875B4C7}" destId="{84AA017D-0121-4570-9E34-E95747196FDC}" srcOrd="0" destOrd="0" parTransId="{714C315D-96BB-47C7-BA27-90FD8D012758}" sibTransId="{77ACBA19-E95B-45DE-A83D-AE2E029BD174}"/>
    <dgm:cxn modelId="{1B27196F-A3DD-450B-B8E1-32D56FAE1D5F}" type="presOf" srcId="{84AA017D-0121-4570-9E34-E95747196FDC}" destId="{DA5B29CC-C442-4A63-BD6F-946AE0D2934E}" srcOrd="0" destOrd="0" presId="urn:microsoft.com/office/officeart/2005/8/layout/default"/>
    <dgm:cxn modelId="{20AD8491-774A-4068-BF1D-7A8F1C6F3DE9}" srcId="{01A02499-57E0-47BE-84E6-57262875B4C7}" destId="{1DFC1DAA-BF98-4B44-BDB1-C3E9532B04F6}" srcOrd="1" destOrd="0" parTransId="{BA46B7E1-6466-4789-A39C-50EF3DBB3477}" sibTransId="{6036103F-582D-4EF9-873D-422267C9E273}"/>
    <dgm:cxn modelId="{078CEFD9-F91F-47DD-8C5C-6B06A0F31069}" type="presOf" srcId="{01A02499-57E0-47BE-84E6-57262875B4C7}" destId="{FFCE293E-524C-44A9-84F3-D6006A07242B}" srcOrd="0" destOrd="0" presId="urn:microsoft.com/office/officeart/2005/8/layout/default"/>
    <dgm:cxn modelId="{55B9819F-497D-4353-B339-047471E9FE03}" type="presParOf" srcId="{FFCE293E-524C-44A9-84F3-D6006A07242B}" destId="{DA5B29CC-C442-4A63-BD6F-946AE0D2934E}" srcOrd="0" destOrd="0" presId="urn:microsoft.com/office/officeart/2005/8/layout/default"/>
    <dgm:cxn modelId="{BCD44CDC-3A78-40CE-A3D9-CB47C077C27A}" type="presParOf" srcId="{FFCE293E-524C-44A9-84F3-D6006A07242B}" destId="{9C06A65D-72BF-4AFF-9C38-1FD69EC0516B}" srcOrd="1" destOrd="0" presId="urn:microsoft.com/office/officeart/2005/8/layout/default"/>
    <dgm:cxn modelId="{2A1C9D30-C8DA-4E9F-8C7F-E050E54B6A60}" type="presParOf" srcId="{FFCE293E-524C-44A9-84F3-D6006A07242B}" destId="{1DF71DE3-4030-4E11-8773-A3C326979245}"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DE32993-AD80-4E43-992C-6B57BB43504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18B6E7A-A3D1-4ACA-B196-25904C0FC1C6}">
      <dgm:prSet phldrT="[Text]"/>
      <dgm:spPr/>
      <dgm:t>
        <a:bodyPr/>
        <a:lstStyle/>
        <a:p>
          <a:pPr>
            <a:buNone/>
          </a:pPr>
          <a:r>
            <a:rPr lang="en-US" b="1" dirty="0"/>
            <a:t>Density Vector</a:t>
          </a:r>
          <a:endParaRPr lang="en-US" dirty="0"/>
        </a:p>
      </dgm:t>
    </dgm:pt>
    <dgm:pt modelId="{DFD8C307-8CAF-40C7-8A1D-20523F3B3E85}" type="parTrans" cxnId="{511AA100-E483-4894-9418-9A37605956A0}">
      <dgm:prSet/>
      <dgm:spPr/>
      <dgm:t>
        <a:bodyPr/>
        <a:lstStyle/>
        <a:p>
          <a:endParaRPr lang="en-US"/>
        </a:p>
      </dgm:t>
    </dgm:pt>
    <dgm:pt modelId="{0A9E4946-1D7E-4315-9244-FE57EE060893}" type="sibTrans" cxnId="{511AA100-E483-4894-9418-9A37605956A0}">
      <dgm:prSet/>
      <dgm:spPr/>
      <dgm:t>
        <a:bodyPr/>
        <a:lstStyle/>
        <a:p>
          <a:endParaRPr lang="en-US"/>
        </a:p>
      </dgm:t>
    </dgm:pt>
    <dgm:pt modelId="{6E02F858-CB83-44B3-A32B-1A237E9738EA}">
      <dgm:prSet/>
      <dgm:spPr/>
      <dgm:t>
        <a:bodyPr/>
        <a:lstStyle/>
        <a:p>
          <a:pPr marL="0" indent="0">
            <a:buNone/>
          </a:pPr>
          <a:r>
            <a:rPr lang="en-US" dirty="0"/>
            <a:t>Density is information about the number of duplicates in each column or combination of columns</a:t>
          </a:r>
        </a:p>
      </dgm:t>
    </dgm:pt>
    <dgm:pt modelId="{576BCAF4-B77E-458A-822A-1D30DBE078DF}" type="parTrans" cxnId="{EDFF7E93-2F92-4CAA-BF0B-0F6878002154}">
      <dgm:prSet/>
      <dgm:spPr/>
      <dgm:t>
        <a:bodyPr/>
        <a:lstStyle/>
        <a:p>
          <a:endParaRPr lang="en-US"/>
        </a:p>
      </dgm:t>
    </dgm:pt>
    <dgm:pt modelId="{F3FDE153-8153-4498-83C1-910B4C5F23E8}" type="sibTrans" cxnId="{EDFF7E93-2F92-4CAA-BF0B-0F6878002154}">
      <dgm:prSet/>
      <dgm:spPr/>
      <dgm:t>
        <a:bodyPr/>
        <a:lstStyle/>
        <a:p>
          <a:endParaRPr lang="en-US"/>
        </a:p>
      </dgm:t>
    </dgm:pt>
    <dgm:pt modelId="{60C3BF7D-A12A-4088-8764-4B304BBD54FC}">
      <dgm:prSet/>
      <dgm:spPr/>
      <dgm:t>
        <a:bodyPr/>
        <a:lstStyle/>
        <a:p>
          <a:r>
            <a:rPr lang="en-US" b="1" dirty="0"/>
            <a:t>Histogram</a:t>
          </a:r>
        </a:p>
      </dgm:t>
    </dgm:pt>
    <dgm:pt modelId="{F2917154-D524-4FB6-9A86-62725B0DB50C}" type="parTrans" cxnId="{15E7ECB2-5D8A-42AC-B854-2FB402EACF43}">
      <dgm:prSet/>
      <dgm:spPr/>
      <dgm:t>
        <a:bodyPr/>
        <a:lstStyle/>
        <a:p>
          <a:endParaRPr lang="en-US"/>
        </a:p>
      </dgm:t>
    </dgm:pt>
    <dgm:pt modelId="{F9466998-D4F4-4645-8B92-58C76F7E6798}" type="sibTrans" cxnId="{15E7ECB2-5D8A-42AC-B854-2FB402EACF43}">
      <dgm:prSet/>
      <dgm:spPr/>
      <dgm:t>
        <a:bodyPr/>
        <a:lstStyle/>
        <a:p>
          <a:endParaRPr lang="en-US"/>
        </a:p>
      </dgm:t>
    </dgm:pt>
    <dgm:pt modelId="{31482041-E40E-4F0C-8DEF-90FB6948393C}">
      <dgm:prSet/>
      <dgm:spPr/>
      <dgm:t>
        <a:bodyPr/>
        <a:lstStyle/>
        <a:p>
          <a:pPr marL="0" indent="0">
            <a:buNone/>
          </a:pPr>
          <a:r>
            <a:rPr lang="en-US" dirty="0"/>
            <a:t>A </a:t>
          </a:r>
          <a:r>
            <a:rPr lang="en-US" b="1" dirty="0"/>
            <a:t>histogram</a:t>
          </a:r>
          <a:r>
            <a:rPr lang="en-US" dirty="0"/>
            <a:t> measures the frequency of occurrence for each distinct value in a data set. </a:t>
          </a:r>
        </a:p>
      </dgm:t>
    </dgm:pt>
    <dgm:pt modelId="{32EFE2ED-042A-426D-952E-1CFED386BC0E}" type="parTrans" cxnId="{7FE5F0B6-20B1-427E-A902-675BC29C7D80}">
      <dgm:prSet/>
      <dgm:spPr/>
      <dgm:t>
        <a:bodyPr/>
        <a:lstStyle/>
        <a:p>
          <a:endParaRPr lang="en-US"/>
        </a:p>
      </dgm:t>
    </dgm:pt>
    <dgm:pt modelId="{55E6424C-C3BC-4E4D-8320-50E7A0DD03E2}" type="sibTrans" cxnId="{7FE5F0B6-20B1-427E-A902-675BC29C7D80}">
      <dgm:prSet/>
      <dgm:spPr/>
      <dgm:t>
        <a:bodyPr/>
        <a:lstStyle/>
        <a:p>
          <a:endParaRPr lang="en-US"/>
        </a:p>
      </dgm:t>
    </dgm:pt>
    <dgm:pt modelId="{4EEEE687-2A30-4FF6-B6AB-B246F29675A7}">
      <dgm:prSet/>
      <dgm:spPr/>
      <dgm:t>
        <a:bodyPr/>
        <a:lstStyle/>
        <a:p>
          <a:pPr marL="0" indent="0">
            <a:buFont typeface="Arial" panose="020B0604020202020204" pitchFamily="34" charset="0"/>
            <a:buChar char="•"/>
          </a:pPr>
          <a:r>
            <a:rPr lang="en-US" dirty="0"/>
            <a:t>Used when query predicate contains variable</a:t>
          </a:r>
          <a:br>
            <a:rPr lang="en-US" dirty="0"/>
          </a:br>
          <a:r>
            <a:rPr lang="en-US" b="1" dirty="0"/>
            <a:t>WHERE col = @variable</a:t>
          </a:r>
          <a:br>
            <a:rPr lang="en-US" b="1" dirty="0"/>
          </a:br>
          <a:r>
            <a:rPr lang="en-US" dirty="0"/>
            <a:t>or when a stored procedure uses query on a modified parameter:</a:t>
          </a:r>
          <a:br>
            <a:rPr lang="en-US" dirty="0"/>
          </a:br>
          <a:r>
            <a:rPr lang="en-US" b="1" dirty="0"/>
            <a:t>WHERE col = @local_variable</a:t>
          </a:r>
        </a:p>
      </dgm:t>
    </dgm:pt>
    <dgm:pt modelId="{31674781-E5C6-43E0-A6C5-AEE0F51969E5}" type="parTrans" cxnId="{370DD9FD-74C7-4BC9-84D1-8E118554144A}">
      <dgm:prSet/>
      <dgm:spPr/>
      <dgm:t>
        <a:bodyPr/>
        <a:lstStyle/>
        <a:p>
          <a:endParaRPr lang="en-US"/>
        </a:p>
      </dgm:t>
    </dgm:pt>
    <dgm:pt modelId="{9BC1C1CC-BA48-4E87-8C2A-FBF27EA24664}" type="sibTrans" cxnId="{370DD9FD-74C7-4BC9-84D1-8E118554144A}">
      <dgm:prSet/>
      <dgm:spPr/>
      <dgm:t>
        <a:bodyPr/>
        <a:lstStyle/>
        <a:p>
          <a:endParaRPr lang="en-US"/>
        </a:p>
      </dgm:t>
    </dgm:pt>
    <dgm:pt modelId="{84D1FE8A-1D5D-4F8C-B75B-5F83AAE404F2}">
      <dgm:prSet/>
      <dgm:spPr/>
      <dgm:t>
        <a:bodyPr/>
        <a:lstStyle/>
        <a:p>
          <a:pPr marL="0" indent="0"/>
          <a:r>
            <a:rPr lang="en-US" dirty="0"/>
            <a:t>Used when query predicate contains </a:t>
          </a:r>
          <a:br>
            <a:rPr lang="en-US" dirty="0"/>
          </a:br>
          <a:r>
            <a:rPr lang="en-US" b="1" dirty="0"/>
            <a:t>WHERE col = ‘literal’</a:t>
          </a:r>
          <a:br>
            <a:rPr lang="en-US" dirty="0"/>
          </a:br>
          <a:r>
            <a:rPr lang="en-US" dirty="0"/>
            <a:t>or when a stored procedure uses a query on a parameter</a:t>
          </a:r>
          <a:br>
            <a:rPr lang="en-US" dirty="0"/>
          </a:br>
          <a:r>
            <a:rPr lang="en-US" b="1" dirty="0"/>
            <a:t>WHERE col = @parameter</a:t>
          </a:r>
        </a:p>
      </dgm:t>
    </dgm:pt>
    <dgm:pt modelId="{14896F5C-C6F5-4CA9-AD50-300D761F9233}" type="parTrans" cxnId="{84D4BD20-A45E-4FE6-9897-4910A44AE714}">
      <dgm:prSet/>
      <dgm:spPr/>
      <dgm:t>
        <a:bodyPr/>
        <a:lstStyle/>
        <a:p>
          <a:endParaRPr lang="en-US"/>
        </a:p>
      </dgm:t>
    </dgm:pt>
    <dgm:pt modelId="{6B441460-B7A1-40F0-8B13-9786AC2000E7}" type="sibTrans" cxnId="{84D4BD20-A45E-4FE6-9897-4910A44AE714}">
      <dgm:prSet/>
      <dgm:spPr/>
      <dgm:t>
        <a:bodyPr/>
        <a:lstStyle/>
        <a:p>
          <a:endParaRPr lang="en-US"/>
        </a:p>
      </dgm:t>
    </dgm:pt>
    <dgm:pt modelId="{73BDC819-F925-4A2E-B11D-4D200ECBB908}" type="pres">
      <dgm:prSet presAssocID="{CDE32993-AD80-4E43-992C-6B57BB43504A}" presName="Name0" presStyleCnt="0">
        <dgm:presLayoutVars>
          <dgm:dir/>
          <dgm:animLvl val="lvl"/>
          <dgm:resizeHandles val="exact"/>
        </dgm:presLayoutVars>
      </dgm:prSet>
      <dgm:spPr/>
    </dgm:pt>
    <dgm:pt modelId="{F592C079-FED2-4D1B-AF64-93F087F637E0}" type="pres">
      <dgm:prSet presAssocID="{218B6E7A-A3D1-4ACA-B196-25904C0FC1C6}" presName="composite" presStyleCnt="0"/>
      <dgm:spPr/>
    </dgm:pt>
    <dgm:pt modelId="{4E4E45C3-9F4B-4075-A33C-3F6E6CBCE4FD}" type="pres">
      <dgm:prSet presAssocID="{218B6E7A-A3D1-4ACA-B196-25904C0FC1C6}" presName="parTx" presStyleLbl="alignNode1" presStyleIdx="0" presStyleCnt="2">
        <dgm:presLayoutVars>
          <dgm:chMax val="0"/>
          <dgm:chPref val="0"/>
          <dgm:bulletEnabled val="1"/>
        </dgm:presLayoutVars>
      </dgm:prSet>
      <dgm:spPr/>
    </dgm:pt>
    <dgm:pt modelId="{FB754CA3-94F9-4A08-867D-963B7F1E56D9}" type="pres">
      <dgm:prSet presAssocID="{218B6E7A-A3D1-4ACA-B196-25904C0FC1C6}" presName="desTx" presStyleLbl="alignAccFollowNode1" presStyleIdx="0" presStyleCnt="2">
        <dgm:presLayoutVars>
          <dgm:bulletEnabled val="1"/>
        </dgm:presLayoutVars>
      </dgm:prSet>
      <dgm:spPr/>
    </dgm:pt>
    <dgm:pt modelId="{9BC9CACF-C79A-457E-B260-A1D6A31F93F7}" type="pres">
      <dgm:prSet presAssocID="{0A9E4946-1D7E-4315-9244-FE57EE060893}" presName="space" presStyleCnt="0"/>
      <dgm:spPr/>
    </dgm:pt>
    <dgm:pt modelId="{CA489BD6-C005-48E5-B171-3175D77FC212}" type="pres">
      <dgm:prSet presAssocID="{60C3BF7D-A12A-4088-8764-4B304BBD54FC}" presName="composite" presStyleCnt="0"/>
      <dgm:spPr/>
    </dgm:pt>
    <dgm:pt modelId="{79DE4783-3917-4D36-9ED7-5F52D7B63026}" type="pres">
      <dgm:prSet presAssocID="{60C3BF7D-A12A-4088-8764-4B304BBD54FC}" presName="parTx" presStyleLbl="alignNode1" presStyleIdx="1" presStyleCnt="2">
        <dgm:presLayoutVars>
          <dgm:chMax val="0"/>
          <dgm:chPref val="0"/>
          <dgm:bulletEnabled val="1"/>
        </dgm:presLayoutVars>
      </dgm:prSet>
      <dgm:spPr/>
    </dgm:pt>
    <dgm:pt modelId="{325BF2B6-4E2A-4571-A41C-CD04288B4D97}" type="pres">
      <dgm:prSet presAssocID="{60C3BF7D-A12A-4088-8764-4B304BBD54FC}" presName="desTx" presStyleLbl="alignAccFollowNode1" presStyleIdx="1" presStyleCnt="2">
        <dgm:presLayoutVars>
          <dgm:bulletEnabled val="1"/>
        </dgm:presLayoutVars>
      </dgm:prSet>
      <dgm:spPr/>
    </dgm:pt>
  </dgm:ptLst>
  <dgm:cxnLst>
    <dgm:cxn modelId="{511AA100-E483-4894-9418-9A37605956A0}" srcId="{CDE32993-AD80-4E43-992C-6B57BB43504A}" destId="{218B6E7A-A3D1-4ACA-B196-25904C0FC1C6}" srcOrd="0" destOrd="0" parTransId="{DFD8C307-8CAF-40C7-8A1D-20523F3B3E85}" sibTransId="{0A9E4946-1D7E-4315-9244-FE57EE060893}"/>
    <dgm:cxn modelId="{29446A08-D6F1-40F4-B00A-18DCC8B07E07}" type="presOf" srcId="{60C3BF7D-A12A-4088-8764-4B304BBD54FC}" destId="{79DE4783-3917-4D36-9ED7-5F52D7B63026}" srcOrd="0" destOrd="0" presId="urn:microsoft.com/office/officeart/2005/8/layout/hList1"/>
    <dgm:cxn modelId="{793CBF12-D5E8-4790-B833-6CFD37EA0ADE}" type="presOf" srcId="{4EEEE687-2A30-4FF6-B6AB-B246F29675A7}" destId="{FB754CA3-94F9-4A08-867D-963B7F1E56D9}" srcOrd="0" destOrd="1" presId="urn:microsoft.com/office/officeart/2005/8/layout/hList1"/>
    <dgm:cxn modelId="{ADC21C13-21CF-4E15-B8AC-86281B49FD7C}" type="presOf" srcId="{6E02F858-CB83-44B3-A32B-1A237E9738EA}" destId="{FB754CA3-94F9-4A08-867D-963B7F1E56D9}" srcOrd="0" destOrd="0" presId="urn:microsoft.com/office/officeart/2005/8/layout/hList1"/>
    <dgm:cxn modelId="{16A40A15-8297-47C8-BCEE-1858B0369590}" type="presOf" srcId="{84D1FE8A-1D5D-4F8C-B75B-5F83AAE404F2}" destId="{325BF2B6-4E2A-4571-A41C-CD04288B4D97}" srcOrd="0" destOrd="1" presId="urn:microsoft.com/office/officeart/2005/8/layout/hList1"/>
    <dgm:cxn modelId="{0A5D4017-F391-4D6F-AF43-F64926D3236F}" type="presOf" srcId="{CDE32993-AD80-4E43-992C-6B57BB43504A}" destId="{73BDC819-F925-4A2E-B11D-4D200ECBB908}" srcOrd="0" destOrd="0" presId="urn:microsoft.com/office/officeart/2005/8/layout/hList1"/>
    <dgm:cxn modelId="{84D4BD20-A45E-4FE6-9897-4910A44AE714}" srcId="{60C3BF7D-A12A-4088-8764-4B304BBD54FC}" destId="{84D1FE8A-1D5D-4F8C-B75B-5F83AAE404F2}" srcOrd="1" destOrd="0" parTransId="{14896F5C-C6F5-4CA9-AD50-300D761F9233}" sibTransId="{6B441460-B7A1-40F0-8B13-9786AC2000E7}"/>
    <dgm:cxn modelId="{FC1B8255-26F0-4F75-8C30-AE7F977AB413}" type="presOf" srcId="{31482041-E40E-4F0C-8DEF-90FB6948393C}" destId="{325BF2B6-4E2A-4571-A41C-CD04288B4D97}" srcOrd="0" destOrd="0" presId="urn:microsoft.com/office/officeart/2005/8/layout/hList1"/>
    <dgm:cxn modelId="{9048518B-093C-404E-9669-3516E54895B5}" type="presOf" srcId="{218B6E7A-A3D1-4ACA-B196-25904C0FC1C6}" destId="{4E4E45C3-9F4B-4075-A33C-3F6E6CBCE4FD}" srcOrd="0" destOrd="0" presId="urn:microsoft.com/office/officeart/2005/8/layout/hList1"/>
    <dgm:cxn modelId="{EDFF7E93-2F92-4CAA-BF0B-0F6878002154}" srcId="{218B6E7A-A3D1-4ACA-B196-25904C0FC1C6}" destId="{6E02F858-CB83-44B3-A32B-1A237E9738EA}" srcOrd="0" destOrd="0" parTransId="{576BCAF4-B77E-458A-822A-1D30DBE078DF}" sibTransId="{F3FDE153-8153-4498-83C1-910B4C5F23E8}"/>
    <dgm:cxn modelId="{15E7ECB2-5D8A-42AC-B854-2FB402EACF43}" srcId="{CDE32993-AD80-4E43-992C-6B57BB43504A}" destId="{60C3BF7D-A12A-4088-8764-4B304BBD54FC}" srcOrd="1" destOrd="0" parTransId="{F2917154-D524-4FB6-9A86-62725B0DB50C}" sibTransId="{F9466998-D4F4-4645-8B92-58C76F7E6798}"/>
    <dgm:cxn modelId="{7FE5F0B6-20B1-427E-A902-675BC29C7D80}" srcId="{60C3BF7D-A12A-4088-8764-4B304BBD54FC}" destId="{31482041-E40E-4F0C-8DEF-90FB6948393C}" srcOrd="0" destOrd="0" parTransId="{32EFE2ED-042A-426D-952E-1CFED386BC0E}" sibTransId="{55E6424C-C3BC-4E4D-8320-50E7A0DD03E2}"/>
    <dgm:cxn modelId="{370DD9FD-74C7-4BC9-84D1-8E118554144A}" srcId="{218B6E7A-A3D1-4ACA-B196-25904C0FC1C6}" destId="{4EEEE687-2A30-4FF6-B6AB-B246F29675A7}" srcOrd="1" destOrd="0" parTransId="{31674781-E5C6-43E0-A6C5-AEE0F51969E5}" sibTransId="{9BC1C1CC-BA48-4E87-8C2A-FBF27EA24664}"/>
    <dgm:cxn modelId="{FC23E7E3-BC07-4BD6-8E55-82535A9FC406}" type="presParOf" srcId="{73BDC819-F925-4A2E-B11D-4D200ECBB908}" destId="{F592C079-FED2-4D1B-AF64-93F087F637E0}" srcOrd="0" destOrd="0" presId="urn:microsoft.com/office/officeart/2005/8/layout/hList1"/>
    <dgm:cxn modelId="{78114668-6CD4-4D92-BFDF-8C4260657145}" type="presParOf" srcId="{F592C079-FED2-4D1B-AF64-93F087F637E0}" destId="{4E4E45C3-9F4B-4075-A33C-3F6E6CBCE4FD}" srcOrd="0" destOrd="0" presId="urn:microsoft.com/office/officeart/2005/8/layout/hList1"/>
    <dgm:cxn modelId="{227AB293-05B0-4F4C-8ED7-FF9C17623240}" type="presParOf" srcId="{F592C079-FED2-4D1B-AF64-93F087F637E0}" destId="{FB754CA3-94F9-4A08-867D-963B7F1E56D9}" srcOrd="1" destOrd="0" presId="urn:microsoft.com/office/officeart/2005/8/layout/hList1"/>
    <dgm:cxn modelId="{B1F1A10A-5D94-4887-87BA-97986D83D7FD}" type="presParOf" srcId="{73BDC819-F925-4A2E-B11D-4D200ECBB908}" destId="{9BC9CACF-C79A-457E-B260-A1D6A31F93F7}" srcOrd="1" destOrd="0" presId="urn:microsoft.com/office/officeart/2005/8/layout/hList1"/>
    <dgm:cxn modelId="{A7266A6E-7752-438A-B61B-C260BCF34034}" type="presParOf" srcId="{73BDC819-F925-4A2E-B11D-4D200ECBB908}" destId="{CA489BD6-C005-48E5-B171-3175D77FC212}" srcOrd="2" destOrd="0" presId="urn:microsoft.com/office/officeart/2005/8/layout/hList1"/>
    <dgm:cxn modelId="{6C365857-D532-41BF-B59F-894575E5C9E2}" type="presParOf" srcId="{CA489BD6-C005-48E5-B171-3175D77FC212}" destId="{79DE4783-3917-4D36-9ED7-5F52D7B63026}" srcOrd="0" destOrd="0" presId="urn:microsoft.com/office/officeart/2005/8/layout/hList1"/>
    <dgm:cxn modelId="{3CC8FDAB-6689-4A0A-A0E1-1F059B9411F6}" type="presParOf" srcId="{CA489BD6-C005-48E5-B171-3175D77FC212}" destId="{325BF2B6-4E2A-4571-A41C-CD04288B4D9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95E1955C-3F3D-457D-961A-BC28857D77A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6DCAED02-FFC4-4D0B-89A3-3C300AF5318E}">
      <dgm:prSet phldrT="[Text]"/>
      <dgm:spPr/>
      <dgm:t>
        <a:bodyPr/>
        <a:lstStyle/>
        <a:p>
          <a:r>
            <a:rPr lang="en-US" dirty="0"/>
            <a:t>AUTO_CREATE_STATISTICS</a:t>
          </a:r>
        </a:p>
      </dgm:t>
    </dgm:pt>
    <dgm:pt modelId="{CB1258F3-F1B2-4289-A94F-60A89EF1D78B}" type="parTrans" cxnId="{0FAE9BBE-C6E3-4555-9918-404501BAE494}">
      <dgm:prSet/>
      <dgm:spPr/>
      <dgm:t>
        <a:bodyPr/>
        <a:lstStyle/>
        <a:p>
          <a:endParaRPr lang="en-US"/>
        </a:p>
      </dgm:t>
    </dgm:pt>
    <dgm:pt modelId="{ED8C5196-1A86-4E82-B5AE-467C57C0F3A1}" type="sibTrans" cxnId="{0FAE9BBE-C6E3-4555-9918-404501BAE494}">
      <dgm:prSet/>
      <dgm:spPr/>
      <dgm:t>
        <a:bodyPr/>
        <a:lstStyle/>
        <a:p>
          <a:endParaRPr lang="en-US"/>
        </a:p>
      </dgm:t>
    </dgm:pt>
    <dgm:pt modelId="{B3486570-A9D0-4BAF-B63F-BDB5E9808904}">
      <dgm:prSet phldrT="[Text]"/>
      <dgm:spPr/>
      <dgm:t>
        <a:bodyPr/>
        <a:lstStyle/>
        <a:p>
          <a:r>
            <a:rPr lang="en-US" dirty="0"/>
            <a:t>AUTO_UPDATE_STATISTICS_ASYNC</a:t>
          </a:r>
        </a:p>
      </dgm:t>
    </dgm:pt>
    <dgm:pt modelId="{99CA2CD0-024F-418A-A3DE-66AC26B559EC}" type="parTrans" cxnId="{E40D9D17-41C9-43EE-B447-BB10ECB86F00}">
      <dgm:prSet/>
      <dgm:spPr/>
      <dgm:t>
        <a:bodyPr/>
        <a:lstStyle/>
        <a:p>
          <a:endParaRPr lang="en-US"/>
        </a:p>
      </dgm:t>
    </dgm:pt>
    <dgm:pt modelId="{9EAA28D2-156A-4E20-94A2-F6453C7F72C7}" type="sibTrans" cxnId="{E40D9D17-41C9-43EE-B447-BB10ECB86F00}">
      <dgm:prSet/>
      <dgm:spPr/>
      <dgm:t>
        <a:bodyPr/>
        <a:lstStyle/>
        <a:p>
          <a:endParaRPr lang="en-US"/>
        </a:p>
      </dgm:t>
    </dgm:pt>
    <dgm:pt modelId="{EDA8580C-11F7-491B-85F2-01A3F8902E00}">
      <dgm:prSet phldrT="[Text]"/>
      <dgm:spPr/>
      <dgm:t>
        <a:bodyPr/>
        <a:lstStyle/>
        <a:p>
          <a:r>
            <a:rPr lang="en-US" dirty="0"/>
            <a:t>AUTO_UPDATE_STATISTICS</a:t>
          </a:r>
        </a:p>
      </dgm:t>
    </dgm:pt>
    <dgm:pt modelId="{F51AD03A-20C8-41FB-A899-6D21AB18722D}" type="parTrans" cxnId="{1DE9612D-CD51-4C8A-9F6F-E46507578B2F}">
      <dgm:prSet/>
      <dgm:spPr/>
      <dgm:t>
        <a:bodyPr/>
        <a:lstStyle/>
        <a:p>
          <a:endParaRPr lang="en-US"/>
        </a:p>
      </dgm:t>
    </dgm:pt>
    <dgm:pt modelId="{ABB8ED32-1B0E-4E3A-AE76-7DF41EFB57A7}" type="sibTrans" cxnId="{1DE9612D-CD51-4C8A-9F6F-E46507578B2F}">
      <dgm:prSet/>
      <dgm:spPr/>
      <dgm:t>
        <a:bodyPr/>
        <a:lstStyle/>
        <a:p>
          <a:endParaRPr lang="en-US"/>
        </a:p>
      </dgm:t>
    </dgm:pt>
    <dgm:pt modelId="{C58EB978-C682-433B-A84F-454CAEC7CBCC}">
      <dgm:prSet phldrT="[Text]"/>
      <dgm:spPr/>
      <dgm:t>
        <a:bodyPr/>
        <a:lstStyle/>
        <a:p>
          <a:r>
            <a:rPr lang="en-US" b="0" dirty="0"/>
            <a:t>INCREMENTAL</a:t>
          </a:r>
        </a:p>
      </dgm:t>
    </dgm:pt>
    <dgm:pt modelId="{68580FFF-6A6D-4225-8666-AD4FFA54E56F}" type="parTrans" cxnId="{5268AA85-CCEB-4C9C-8C80-410F900D9ADB}">
      <dgm:prSet/>
      <dgm:spPr/>
      <dgm:t>
        <a:bodyPr/>
        <a:lstStyle/>
        <a:p>
          <a:endParaRPr lang="en-US"/>
        </a:p>
      </dgm:t>
    </dgm:pt>
    <dgm:pt modelId="{0DF90F44-FB92-4546-B481-945AC595A99C}" type="sibTrans" cxnId="{5268AA85-CCEB-4C9C-8C80-410F900D9ADB}">
      <dgm:prSet/>
      <dgm:spPr/>
      <dgm:t>
        <a:bodyPr/>
        <a:lstStyle/>
        <a:p>
          <a:endParaRPr lang="en-US"/>
        </a:p>
      </dgm:t>
    </dgm:pt>
    <dgm:pt modelId="{CD118326-4FB8-442C-85D7-0E81340AEAF2}" type="pres">
      <dgm:prSet presAssocID="{95E1955C-3F3D-457D-961A-BC28857D77A6}" presName="diagram" presStyleCnt="0">
        <dgm:presLayoutVars>
          <dgm:dir/>
          <dgm:resizeHandles val="exact"/>
        </dgm:presLayoutVars>
      </dgm:prSet>
      <dgm:spPr/>
    </dgm:pt>
    <dgm:pt modelId="{D48F4B79-809B-48AE-AD45-C22AA49D3EA7}" type="pres">
      <dgm:prSet presAssocID="{6DCAED02-FFC4-4D0B-89A3-3C300AF5318E}" presName="node" presStyleLbl="node1" presStyleIdx="0" presStyleCnt="4">
        <dgm:presLayoutVars>
          <dgm:bulletEnabled val="1"/>
        </dgm:presLayoutVars>
      </dgm:prSet>
      <dgm:spPr/>
    </dgm:pt>
    <dgm:pt modelId="{E551B0AA-C47A-4D40-AB6D-6717B8870652}" type="pres">
      <dgm:prSet presAssocID="{ED8C5196-1A86-4E82-B5AE-467C57C0F3A1}" presName="sibTrans" presStyleCnt="0"/>
      <dgm:spPr/>
    </dgm:pt>
    <dgm:pt modelId="{4809909C-BD77-416F-8445-5B217F2973BA}" type="pres">
      <dgm:prSet presAssocID="{EDA8580C-11F7-491B-85F2-01A3F8902E00}" presName="node" presStyleLbl="node1" presStyleIdx="1" presStyleCnt="4">
        <dgm:presLayoutVars>
          <dgm:bulletEnabled val="1"/>
        </dgm:presLayoutVars>
      </dgm:prSet>
      <dgm:spPr/>
    </dgm:pt>
    <dgm:pt modelId="{DC7FCB2C-388F-444A-875F-C52E6114CC5D}" type="pres">
      <dgm:prSet presAssocID="{ABB8ED32-1B0E-4E3A-AE76-7DF41EFB57A7}" presName="sibTrans" presStyleCnt="0"/>
      <dgm:spPr/>
    </dgm:pt>
    <dgm:pt modelId="{37974224-52A4-4BFF-B9D1-6EC0B3389372}" type="pres">
      <dgm:prSet presAssocID="{B3486570-A9D0-4BAF-B63F-BDB5E9808904}" presName="node" presStyleLbl="node1" presStyleIdx="2" presStyleCnt="4">
        <dgm:presLayoutVars>
          <dgm:bulletEnabled val="1"/>
        </dgm:presLayoutVars>
      </dgm:prSet>
      <dgm:spPr/>
    </dgm:pt>
    <dgm:pt modelId="{A44C12EA-E64B-49A9-BEEA-260020D54F24}" type="pres">
      <dgm:prSet presAssocID="{9EAA28D2-156A-4E20-94A2-F6453C7F72C7}" presName="sibTrans" presStyleCnt="0"/>
      <dgm:spPr/>
    </dgm:pt>
    <dgm:pt modelId="{CCD16D16-0B29-4E4A-B287-0009D7E1E620}" type="pres">
      <dgm:prSet presAssocID="{C58EB978-C682-433B-A84F-454CAEC7CBCC}" presName="node" presStyleLbl="node1" presStyleIdx="3" presStyleCnt="4">
        <dgm:presLayoutVars>
          <dgm:bulletEnabled val="1"/>
        </dgm:presLayoutVars>
      </dgm:prSet>
      <dgm:spPr/>
    </dgm:pt>
  </dgm:ptLst>
  <dgm:cxnLst>
    <dgm:cxn modelId="{E40D9D17-41C9-43EE-B447-BB10ECB86F00}" srcId="{95E1955C-3F3D-457D-961A-BC28857D77A6}" destId="{B3486570-A9D0-4BAF-B63F-BDB5E9808904}" srcOrd="2" destOrd="0" parTransId="{99CA2CD0-024F-418A-A3DE-66AC26B559EC}" sibTransId="{9EAA28D2-156A-4E20-94A2-F6453C7F72C7}"/>
    <dgm:cxn modelId="{1DE9612D-CD51-4C8A-9F6F-E46507578B2F}" srcId="{95E1955C-3F3D-457D-961A-BC28857D77A6}" destId="{EDA8580C-11F7-491B-85F2-01A3F8902E00}" srcOrd="1" destOrd="0" parTransId="{F51AD03A-20C8-41FB-A899-6D21AB18722D}" sibTransId="{ABB8ED32-1B0E-4E3A-AE76-7DF41EFB57A7}"/>
    <dgm:cxn modelId="{15ACDD39-59CC-4886-A1F2-0D0D9D7181AE}" type="presOf" srcId="{C58EB978-C682-433B-A84F-454CAEC7CBCC}" destId="{CCD16D16-0B29-4E4A-B287-0009D7E1E620}" srcOrd="0" destOrd="0" presId="urn:microsoft.com/office/officeart/2005/8/layout/default"/>
    <dgm:cxn modelId="{6B841265-B98E-4622-BEAF-BF6B750F9152}" type="presOf" srcId="{95E1955C-3F3D-457D-961A-BC28857D77A6}" destId="{CD118326-4FB8-442C-85D7-0E81340AEAF2}" srcOrd="0" destOrd="0" presId="urn:microsoft.com/office/officeart/2005/8/layout/default"/>
    <dgm:cxn modelId="{A70E4D46-0BA7-4CFF-A96B-DBFC544C9E28}" type="presOf" srcId="{EDA8580C-11F7-491B-85F2-01A3F8902E00}" destId="{4809909C-BD77-416F-8445-5B217F2973BA}" srcOrd="0" destOrd="0" presId="urn:microsoft.com/office/officeart/2005/8/layout/default"/>
    <dgm:cxn modelId="{5268AA85-CCEB-4C9C-8C80-410F900D9ADB}" srcId="{95E1955C-3F3D-457D-961A-BC28857D77A6}" destId="{C58EB978-C682-433B-A84F-454CAEC7CBCC}" srcOrd="3" destOrd="0" parTransId="{68580FFF-6A6D-4225-8666-AD4FFA54E56F}" sibTransId="{0DF90F44-FB92-4546-B481-945AC595A99C}"/>
    <dgm:cxn modelId="{0F4F33B3-91C4-46A9-B1B3-B578D21A678F}" type="presOf" srcId="{6DCAED02-FFC4-4D0B-89A3-3C300AF5318E}" destId="{D48F4B79-809B-48AE-AD45-C22AA49D3EA7}" srcOrd="0" destOrd="0" presId="urn:microsoft.com/office/officeart/2005/8/layout/default"/>
    <dgm:cxn modelId="{0FAE9BBE-C6E3-4555-9918-404501BAE494}" srcId="{95E1955C-3F3D-457D-961A-BC28857D77A6}" destId="{6DCAED02-FFC4-4D0B-89A3-3C300AF5318E}" srcOrd="0" destOrd="0" parTransId="{CB1258F3-F1B2-4289-A94F-60A89EF1D78B}" sibTransId="{ED8C5196-1A86-4E82-B5AE-467C57C0F3A1}"/>
    <dgm:cxn modelId="{1B2FCAF0-3AA0-429E-A75C-3C1B7F308CD4}" type="presOf" srcId="{B3486570-A9D0-4BAF-B63F-BDB5E9808904}" destId="{37974224-52A4-4BFF-B9D1-6EC0B3389372}" srcOrd="0" destOrd="0" presId="urn:microsoft.com/office/officeart/2005/8/layout/default"/>
    <dgm:cxn modelId="{E988E97F-6FC1-4D37-A3A5-E7BB3F3C9912}" type="presParOf" srcId="{CD118326-4FB8-442C-85D7-0E81340AEAF2}" destId="{D48F4B79-809B-48AE-AD45-C22AA49D3EA7}" srcOrd="0" destOrd="0" presId="urn:microsoft.com/office/officeart/2005/8/layout/default"/>
    <dgm:cxn modelId="{D79633B8-F2DA-460A-9175-42FDA34D96D5}" type="presParOf" srcId="{CD118326-4FB8-442C-85D7-0E81340AEAF2}" destId="{E551B0AA-C47A-4D40-AB6D-6717B8870652}" srcOrd="1" destOrd="0" presId="urn:microsoft.com/office/officeart/2005/8/layout/default"/>
    <dgm:cxn modelId="{8099380C-9C62-4A88-A69E-434B8788E05F}" type="presParOf" srcId="{CD118326-4FB8-442C-85D7-0E81340AEAF2}" destId="{4809909C-BD77-416F-8445-5B217F2973BA}" srcOrd="2" destOrd="0" presId="urn:microsoft.com/office/officeart/2005/8/layout/default"/>
    <dgm:cxn modelId="{B03321F7-2119-4385-A45B-D24829BB1196}" type="presParOf" srcId="{CD118326-4FB8-442C-85D7-0E81340AEAF2}" destId="{DC7FCB2C-388F-444A-875F-C52E6114CC5D}" srcOrd="3" destOrd="0" presId="urn:microsoft.com/office/officeart/2005/8/layout/default"/>
    <dgm:cxn modelId="{EA39A58F-48FE-4E1A-B527-BC17222B61F7}" type="presParOf" srcId="{CD118326-4FB8-442C-85D7-0E81340AEAF2}" destId="{37974224-52A4-4BFF-B9D1-6EC0B3389372}" srcOrd="4" destOrd="0" presId="urn:microsoft.com/office/officeart/2005/8/layout/default"/>
    <dgm:cxn modelId="{D02AF402-2C90-4930-A697-098DBF7668B3}" type="presParOf" srcId="{CD118326-4FB8-442C-85D7-0E81340AEAF2}" destId="{A44C12EA-E64B-49A9-BEEA-260020D54F24}" srcOrd="5" destOrd="0" presId="urn:microsoft.com/office/officeart/2005/8/layout/default"/>
    <dgm:cxn modelId="{C4A05389-3A40-4F31-98F3-E2284D2DE3AD}" type="presParOf" srcId="{CD118326-4FB8-442C-85D7-0E81340AEAF2}" destId="{CCD16D16-0B29-4E4A-B287-0009D7E1E620}"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4B776EB6-EC41-4025-9898-F8714E4AB430}"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A3DE7A8-791F-4F6A-809A-2131703BAECD}">
      <dgm:prSet custT="1"/>
      <dgm:spPr/>
      <dgm:t>
        <a:bodyPr/>
        <a:lstStyle/>
        <a:p>
          <a:r>
            <a:rPr lang="en-US" sz="2400" baseline="0" dirty="0"/>
            <a:t>For most queries, the query optimizer generates necessary statistics for a high-quality query plan.</a:t>
          </a:r>
          <a:endParaRPr lang="en-US" sz="2400" dirty="0"/>
        </a:p>
      </dgm:t>
    </dgm:pt>
    <dgm:pt modelId="{7E5903DC-64E3-4C8C-8E50-4884F5BF9644}" type="parTrans" cxnId="{BABFC0C3-3D90-47A1-A9C2-7A4B4B0D04BF}">
      <dgm:prSet/>
      <dgm:spPr/>
      <dgm:t>
        <a:bodyPr/>
        <a:lstStyle/>
        <a:p>
          <a:endParaRPr lang="en-US" sz="2200"/>
        </a:p>
      </dgm:t>
    </dgm:pt>
    <dgm:pt modelId="{235039AA-E6B5-4908-8102-31A4A94F3025}" type="sibTrans" cxnId="{BABFC0C3-3D90-47A1-A9C2-7A4B4B0D04BF}">
      <dgm:prSet/>
      <dgm:spPr/>
      <dgm:t>
        <a:bodyPr/>
        <a:lstStyle/>
        <a:p>
          <a:endParaRPr lang="en-US" sz="2200"/>
        </a:p>
      </dgm:t>
    </dgm:pt>
    <dgm:pt modelId="{B439F6A7-6E3D-45E7-A6E9-3A7B882FB8ED}">
      <dgm:prSet custT="1"/>
      <dgm:spPr/>
      <dgm:t>
        <a:bodyPr/>
        <a:lstStyle/>
        <a:p>
          <a:r>
            <a:rPr lang="en-US" sz="2400" baseline="0" dirty="0"/>
            <a:t>In a few cases, additional statistics is needed to improve query performance.</a:t>
          </a:r>
          <a:endParaRPr lang="en-US" sz="2400" dirty="0"/>
        </a:p>
      </dgm:t>
    </dgm:pt>
    <dgm:pt modelId="{E33C642E-7AFD-499D-BE34-E25902DE73FE}" type="parTrans" cxnId="{C4E586E7-3B38-460A-B986-D4C9DFC5E25B}">
      <dgm:prSet/>
      <dgm:spPr/>
      <dgm:t>
        <a:bodyPr/>
        <a:lstStyle/>
        <a:p>
          <a:endParaRPr lang="en-US" sz="2200"/>
        </a:p>
      </dgm:t>
    </dgm:pt>
    <dgm:pt modelId="{2DD8A4EA-CB9A-4857-B96E-E634EE42FA89}" type="sibTrans" cxnId="{C4E586E7-3B38-460A-B986-D4C9DFC5E25B}">
      <dgm:prSet/>
      <dgm:spPr/>
      <dgm:t>
        <a:bodyPr/>
        <a:lstStyle/>
        <a:p>
          <a:endParaRPr lang="en-US" sz="2200"/>
        </a:p>
      </dgm:t>
    </dgm:pt>
    <dgm:pt modelId="{78DEE32B-3BEC-49CD-A9C4-EF1DC78C9B06}" type="pres">
      <dgm:prSet presAssocID="{4B776EB6-EC41-4025-9898-F8714E4AB430}" presName="hierChild1" presStyleCnt="0">
        <dgm:presLayoutVars>
          <dgm:orgChart val="1"/>
          <dgm:chPref val="1"/>
          <dgm:dir/>
          <dgm:animOne val="branch"/>
          <dgm:animLvl val="lvl"/>
          <dgm:resizeHandles/>
        </dgm:presLayoutVars>
      </dgm:prSet>
      <dgm:spPr/>
    </dgm:pt>
    <dgm:pt modelId="{DBC87E3A-20BC-4A3E-958C-E5BEF9268673}" type="pres">
      <dgm:prSet presAssocID="{AA3DE7A8-791F-4F6A-809A-2131703BAECD}" presName="hierRoot1" presStyleCnt="0">
        <dgm:presLayoutVars>
          <dgm:hierBranch val="init"/>
        </dgm:presLayoutVars>
      </dgm:prSet>
      <dgm:spPr/>
    </dgm:pt>
    <dgm:pt modelId="{D967B00A-FA00-4CA0-948B-8EE33A83EBCB}" type="pres">
      <dgm:prSet presAssocID="{AA3DE7A8-791F-4F6A-809A-2131703BAECD}" presName="rootComposite1" presStyleCnt="0"/>
      <dgm:spPr/>
    </dgm:pt>
    <dgm:pt modelId="{CC00ABD4-B932-4EA2-80CD-46DBE18F301B}" type="pres">
      <dgm:prSet presAssocID="{AA3DE7A8-791F-4F6A-809A-2131703BAECD}" presName="rootText1" presStyleLbl="node0" presStyleIdx="0" presStyleCnt="2">
        <dgm:presLayoutVars>
          <dgm:chPref val="3"/>
        </dgm:presLayoutVars>
      </dgm:prSet>
      <dgm:spPr/>
    </dgm:pt>
    <dgm:pt modelId="{7CF20358-3AEF-425E-BCE6-4FB0FB80026D}" type="pres">
      <dgm:prSet presAssocID="{AA3DE7A8-791F-4F6A-809A-2131703BAECD}" presName="rootConnector1" presStyleLbl="node1" presStyleIdx="0" presStyleCnt="0"/>
      <dgm:spPr/>
    </dgm:pt>
    <dgm:pt modelId="{0529655C-0967-4053-A3EA-275F7B89EC46}" type="pres">
      <dgm:prSet presAssocID="{AA3DE7A8-791F-4F6A-809A-2131703BAECD}" presName="hierChild2" presStyleCnt="0"/>
      <dgm:spPr/>
    </dgm:pt>
    <dgm:pt modelId="{5CD2D517-BF3D-476E-B62A-604E9042E617}" type="pres">
      <dgm:prSet presAssocID="{AA3DE7A8-791F-4F6A-809A-2131703BAECD}" presName="hierChild3" presStyleCnt="0"/>
      <dgm:spPr/>
    </dgm:pt>
    <dgm:pt modelId="{E9ABE472-7229-472D-967B-1F4D6EDF8B50}" type="pres">
      <dgm:prSet presAssocID="{B439F6A7-6E3D-45E7-A6E9-3A7B882FB8ED}" presName="hierRoot1" presStyleCnt="0">
        <dgm:presLayoutVars>
          <dgm:hierBranch val="init"/>
        </dgm:presLayoutVars>
      </dgm:prSet>
      <dgm:spPr/>
    </dgm:pt>
    <dgm:pt modelId="{0EFDEF5A-BA3D-4CFB-92C9-0E868146D13E}" type="pres">
      <dgm:prSet presAssocID="{B439F6A7-6E3D-45E7-A6E9-3A7B882FB8ED}" presName="rootComposite1" presStyleCnt="0"/>
      <dgm:spPr/>
    </dgm:pt>
    <dgm:pt modelId="{DC126319-A44B-4E9A-9E49-090CB62E2E03}" type="pres">
      <dgm:prSet presAssocID="{B439F6A7-6E3D-45E7-A6E9-3A7B882FB8ED}" presName="rootText1" presStyleLbl="node0" presStyleIdx="1" presStyleCnt="2">
        <dgm:presLayoutVars>
          <dgm:chPref val="3"/>
        </dgm:presLayoutVars>
      </dgm:prSet>
      <dgm:spPr/>
    </dgm:pt>
    <dgm:pt modelId="{45FF1D83-E0B6-4648-A3F3-9A42ADF1A1C3}" type="pres">
      <dgm:prSet presAssocID="{B439F6A7-6E3D-45E7-A6E9-3A7B882FB8ED}" presName="rootConnector1" presStyleLbl="node1" presStyleIdx="0" presStyleCnt="0"/>
      <dgm:spPr/>
    </dgm:pt>
    <dgm:pt modelId="{82A22D8F-AE75-468D-9C7C-B78323E9F7C6}" type="pres">
      <dgm:prSet presAssocID="{B439F6A7-6E3D-45E7-A6E9-3A7B882FB8ED}" presName="hierChild2" presStyleCnt="0"/>
      <dgm:spPr/>
    </dgm:pt>
    <dgm:pt modelId="{D8E29D56-239D-427A-9013-57CF3A85B2E8}" type="pres">
      <dgm:prSet presAssocID="{B439F6A7-6E3D-45E7-A6E9-3A7B882FB8ED}" presName="hierChild3" presStyleCnt="0"/>
      <dgm:spPr/>
    </dgm:pt>
  </dgm:ptLst>
  <dgm:cxnLst>
    <dgm:cxn modelId="{66BBDE3D-5012-477B-A6C7-0992A23405FA}" type="presOf" srcId="{B439F6A7-6E3D-45E7-A6E9-3A7B882FB8ED}" destId="{DC126319-A44B-4E9A-9E49-090CB62E2E03}" srcOrd="0" destOrd="0" presId="urn:microsoft.com/office/officeart/2005/8/layout/orgChart1"/>
    <dgm:cxn modelId="{E0302F75-D978-4DAE-B94E-422F62836536}" type="presOf" srcId="{B439F6A7-6E3D-45E7-A6E9-3A7B882FB8ED}" destId="{45FF1D83-E0B6-4648-A3F3-9A42ADF1A1C3}" srcOrd="1" destOrd="0" presId="urn:microsoft.com/office/officeart/2005/8/layout/orgChart1"/>
    <dgm:cxn modelId="{3C27DD77-4BCD-4221-AD3A-163C878FDF9A}" type="presOf" srcId="{AA3DE7A8-791F-4F6A-809A-2131703BAECD}" destId="{7CF20358-3AEF-425E-BCE6-4FB0FB80026D}" srcOrd="1" destOrd="0" presId="urn:microsoft.com/office/officeart/2005/8/layout/orgChart1"/>
    <dgm:cxn modelId="{9256D979-201A-4B5B-AD7B-2FB04EE5A5E0}" type="presOf" srcId="{4B776EB6-EC41-4025-9898-F8714E4AB430}" destId="{78DEE32B-3BEC-49CD-A9C4-EF1DC78C9B06}" srcOrd="0" destOrd="0" presId="urn:microsoft.com/office/officeart/2005/8/layout/orgChart1"/>
    <dgm:cxn modelId="{BABFC0C3-3D90-47A1-A9C2-7A4B4B0D04BF}" srcId="{4B776EB6-EC41-4025-9898-F8714E4AB430}" destId="{AA3DE7A8-791F-4F6A-809A-2131703BAECD}" srcOrd="0" destOrd="0" parTransId="{7E5903DC-64E3-4C8C-8E50-4884F5BF9644}" sibTransId="{235039AA-E6B5-4908-8102-31A4A94F3025}"/>
    <dgm:cxn modelId="{C4E586E7-3B38-460A-B986-D4C9DFC5E25B}" srcId="{4B776EB6-EC41-4025-9898-F8714E4AB430}" destId="{B439F6A7-6E3D-45E7-A6E9-3A7B882FB8ED}" srcOrd="1" destOrd="0" parTransId="{E33C642E-7AFD-499D-BE34-E25902DE73FE}" sibTransId="{2DD8A4EA-CB9A-4857-B96E-E634EE42FA89}"/>
    <dgm:cxn modelId="{FEBC83EC-C381-46FC-B182-A933EBC50275}" type="presOf" srcId="{AA3DE7A8-791F-4F6A-809A-2131703BAECD}" destId="{CC00ABD4-B932-4EA2-80CD-46DBE18F301B}" srcOrd="0" destOrd="0" presId="urn:microsoft.com/office/officeart/2005/8/layout/orgChart1"/>
    <dgm:cxn modelId="{17C515DB-9BE2-4D8B-9D06-DB2AEBE6128E}" type="presParOf" srcId="{78DEE32B-3BEC-49CD-A9C4-EF1DC78C9B06}" destId="{DBC87E3A-20BC-4A3E-958C-E5BEF9268673}" srcOrd="0" destOrd="0" presId="urn:microsoft.com/office/officeart/2005/8/layout/orgChart1"/>
    <dgm:cxn modelId="{0CBA2CF2-B497-48DC-8668-C468F37D2F2B}" type="presParOf" srcId="{DBC87E3A-20BC-4A3E-958C-E5BEF9268673}" destId="{D967B00A-FA00-4CA0-948B-8EE33A83EBCB}" srcOrd="0" destOrd="0" presId="urn:microsoft.com/office/officeart/2005/8/layout/orgChart1"/>
    <dgm:cxn modelId="{0F008915-A872-4695-9CD6-7B6784579ACD}" type="presParOf" srcId="{D967B00A-FA00-4CA0-948B-8EE33A83EBCB}" destId="{CC00ABD4-B932-4EA2-80CD-46DBE18F301B}" srcOrd="0" destOrd="0" presId="urn:microsoft.com/office/officeart/2005/8/layout/orgChart1"/>
    <dgm:cxn modelId="{3CA33150-38AB-48A3-9AC9-A8D274A033E4}" type="presParOf" srcId="{D967B00A-FA00-4CA0-948B-8EE33A83EBCB}" destId="{7CF20358-3AEF-425E-BCE6-4FB0FB80026D}" srcOrd="1" destOrd="0" presId="urn:microsoft.com/office/officeart/2005/8/layout/orgChart1"/>
    <dgm:cxn modelId="{9B635FB7-8382-4392-B5D1-C965C745FA6D}" type="presParOf" srcId="{DBC87E3A-20BC-4A3E-958C-E5BEF9268673}" destId="{0529655C-0967-4053-A3EA-275F7B89EC46}" srcOrd="1" destOrd="0" presId="urn:microsoft.com/office/officeart/2005/8/layout/orgChart1"/>
    <dgm:cxn modelId="{41B54342-2A3E-4EEC-8479-4450E7BC595A}" type="presParOf" srcId="{DBC87E3A-20BC-4A3E-958C-E5BEF9268673}" destId="{5CD2D517-BF3D-476E-B62A-604E9042E617}" srcOrd="2" destOrd="0" presId="urn:microsoft.com/office/officeart/2005/8/layout/orgChart1"/>
    <dgm:cxn modelId="{F2DA13BD-B364-4E04-94C4-7650EF7AEB19}" type="presParOf" srcId="{78DEE32B-3BEC-49CD-A9C4-EF1DC78C9B06}" destId="{E9ABE472-7229-472D-967B-1F4D6EDF8B50}" srcOrd="1" destOrd="0" presId="urn:microsoft.com/office/officeart/2005/8/layout/orgChart1"/>
    <dgm:cxn modelId="{8F289621-6F2F-4609-9D40-63B44C76200D}" type="presParOf" srcId="{E9ABE472-7229-472D-967B-1F4D6EDF8B50}" destId="{0EFDEF5A-BA3D-4CFB-92C9-0E868146D13E}" srcOrd="0" destOrd="0" presId="urn:microsoft.com/office/officeart/2005/8/layout/orgChart1"/>
    <dgm:cxn modelId="{C621AC5C-96AF-422C-89A0-933BE7BBBD35}" type="presParOf" srcId="{0EFDEF5A-BA3D-4CFB-92C9-0E868146D13E}" destId="{DC126319-A44B-4E9A-9E49-090CB62E2E03}" srcOrd="0" destOrd="0" presId="urn:microsoft.com/office/officeart/2005/8/layout/orgChart1"/>
    <dgm:cxn modelId="{7E1D241E-7F8A-4118-B4D5-F675C5CBF8A1}" type="presParOf" srcId="{0EFDEF5A-BA3D-4CFB-92C9-0E868146D13E}" destId="{45FF1D83-E0B6-4648-A3F3-9A42ADF1A1C3}" srcOrd="1" destOrd="0" presId="urn:microsoft.com/office/officeart/2005/8/layout/orgChart1"/>
    <dgm:cxn modelId="{28EED72F-AEA3-4440-96C5-4A772572BFF3}" type="presParOf" srcId="{E9ABE472-7229-472D-967B-1F4D6EDF8B50}" destId="{82A22D8F-AE75-468D-9C7C-B78323E9F7C6}" srcOrd="1" destOrd="0" presId="urn:microsoft.com/office/officeart/2005/8/layout/orgChart1"/>
    <dgm:cxn modelId="{E161C296-47CB-4A9F-997B-19A7B1835817}" type="presParOf" srcId="{E9ABE472-7229-472D-967B-1F4D6EDF8B50}" destId="{D8E29D56-239D-427A-9013-57CF3A85B2E8}"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F55FE93-39E3-4605-BB77-6DCFA89EBF6E}"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5811C830-D7DE-4F1F-9748-9439256DBB4F}">
      <dgm:prSet/>
      <dgm:spPr/>
      <dgm:t>
        <a:bodyPr/>
        <a:lstStyle/>
        <a:p>
          <a:r>
            <a:rPr lang="en-US" baseline="0"/>
            <a:t>Unordered masses of data</a:t>
          </a:r>
          <a:endParaRPr lang="en-US"/>
        </a:p>
      </dgm:t>
    </dgm:pt>
    <dgm:pt modelId="{5D07CD05-A5D0-4261-8BA1-DD2ECD012D43}" type="parTrans" cxnId="{CD8B46F1-BF9D-4EEA-A5E3-AD532B3B78C7}">
      <dgm:prSet/>
      <dgm:spPr/>
      <dgm:t>
        <a:bodyPr/>
        <a:lstStyle/>
        <a:p>
          <a:endParaRPr lang="en-US"/>
        </a:p>
      </dgm:t>
    </dgm:pt>
    <dgm:pt modelId="{CA66D173-6EC5-403B-981E-FDFFE1232B41}" type="sibTrans" cxnId="{CD8B46F1-BF9D-4EEA-A5E3-AD532B3B78C7}">
      <dgm:prSet/>
      <dgm:spPr/>
      <dgm:t>
        <a:bodyPr/>
        <a:lstStyle/>
        <a:p>
          <a:endParaRPr lang="en-US"/>
        </a:p>
      </dgm:t>
    </dgm:pt>
    <dgm:pt modelId="{69A340BC-1EB3-4FB7-B22B-1F3414F19B54}">
      <dgm:prSet/>
      <dgm:spPr/>
      <dgm:t>
        <a:bodyPr/>
        <a:lstStyle/>
        <a:p>
          <a:r>
            <a:rPr lang="en-US" baseline="0"/>
            <a:t>Can be good for quickly importing large sets of data </a:t>
          </a:r>
          <a:endParaRPr lang="en-US"/>
        </a:p>
      </dgm:t>
    </dgm:pt>
    <dgm:pt modelId="{A5A7E0B2-0284-4654-80C5-C1B19942A90D}" type="parTrans" cxnId="{11B6A48A-F20C-4601-AB86-022F29F41E29}">
      <dgm:prSet/>
      <dgm:spPr/>
      <dgm:t>
        <a:bodyPr/>
        <a:lstStyle/>
        <a:p>
          <a:endParaRPr lang="en-US"/>
        </a:p>
      </dgm:t>
    </dgm:pt>
    <dgm:pt modelId="{69ABC762-2EB5-45A0-AFBF-68514F7EAE6F}" type="sibTrans" cxnId="{11B6A48A-F20C-4601-AB86-022F29F41E29}">
      <dgm:prSet/>
      <dgm:spPr/>
      <dgm:t>
        <a:bodyPr/>
        <a:lstStyle/>
        <a:p>
          <a:endParaRPr lang="en-US"/>
        </a:p>
      </dgm:t>
    </dgm:pt>
    <dgm:pt modelId="{4010956E-A757-453D-A8CF-85F7F6735FC4}">
      <dgm:prSet/>
      <dgm:spPr/>
      <dgm:t>
        <a:bodyPr/>
        <a:lstStyle/>
        <a:p>
          <a:r>
            <a:rPr lang="en-US" baseline="0" dirty="0"/>
            <a:t>Not a good idea </a:t>
          </a:r>
          <a:r>
            <a:rPr lang="en-US" baseline="0"/>
            <a:t>for reporting-based </a:t>
          </a:r>
          <a:r>
            <a:rPr lang="en-US" baseline="0" dirty="0"/>
            <a:t>data structures</a:t>
          </a:r>
          <a:endParaRPr lang="en-US" dirty="0"/>
        </a:p>
      </dgm:t>
    </dgm:pt>
    <dgm:pt modelId="{1892F19F-1854-4383-A824-464E3BD7F374}" type="parTrans" cxnId="{D8BF728A-9632-407B-9FA0-8144CF79A51D}">
      <dgm:prSet/>
      <dgm:spPr/>
      <dgm:t>
        <a:bodyPr/>
        <a:lstStyle/>
        <a:p>
          <a:endParaRPr lang="en-US"/>
        </a:p>
      </dgm:t>
    </dgm:pt>
    <dgm:pt modelId="{8BB1EAE4-DFF6-4329-A6BF-7FA571512944}" type="sibTrans" cxnId="{D8BF728A-9632-407B-9FA0-8144CF79A51D}">
      <dgm:prSet/>
      <dgm:spPr/>
      <dgm:t>
        <a:bodyPr/>
        <a:lstStyle/>
        <a:p>
          <a:endParaRPr lang="en-US"/>
        </a:p>
      </dgm:t>
    </dgm:pt>
    <dgm:pt modelId="{C34F9976-41D0-484E-8A2E-93ED7DEF385C}">
      <dgm:prSet/>
      <dgm:spPr/>
      <dgm:t>
        <a:bodyPr/>
        <a:lstStyle/>
        <a:p>
          <a:r>
            <a:rPr lang="en-US" baseline="0"/>
            <a:t>Use the ALTER TABLE…REBUILD command to “rebuild” a heap table</a:t>
          </a:r>
          <a:endParaRPr lang="en-US"/>
        </a:p>
      </dgm:t>
    </dgm:pt>
    <dgm:pt modelId="{C583653F-4E8D-4608-9B73-8681C2388C19}" type="parTrans" cxnId="{000D2ED6-840A-4462-B15F-3A33C318A0B2}">
      <dgm:prSet/>
      <dgm:spPr/>
      <dgm:t>
        <a:bodyPr/>
        <a:lstStyle/>
        <a:p>
          <a:endParaRPr lang="en-US"/>
        </a:p>
      </dgm:t>
    </dgm:pt>
    <dgm:pt modelId="{B0C5C221-83ED-40B4-8217-8FD0E9FBC2C8}" type="sibTrans" cxnId="{000D2ED6-840A-4462-B15F-3A33C318A0B2}">
      <dgm:prSet/>
      <dgm:spPr/>
      <dgm:t>
        <a:bodyPr/>
        <a:lstStyle/>
        <a:p>
          <a:endParaRPr lang="en-US"/>
        </a:p>
      </dgm:t>
    </dgm:pt>
    <dgm:pt modelId="{169DC16F-163F-4566-813C-6D8659FDC27B}">
      <dgm:prSet/>
      <dgm:spPr/>
      <dgm:t>
        <a:bodyPr/>
        <a:lstStyle/>
        <a:p>
          <a:r>
            <a:rPr lang="en-US" baseline="0"/>
            <a:t>Do not use a heap </a:t>
          </a:r>
          <a:endParaRPr lang="en-US"/>
        </a:p>
      </dgm:t>
    </dgm:pt>
    <dgm:pt modelId="{663FC982-F31B-4A1A-99BC-71387001A87C}" type="parTrans" cxnId="{43BF124F-6FE4-4971-BA92-5DDB11719DDE}">
      <dgm:prSet/>
      <dgm:spPr/>
      <dgm:t>
        <a:bodyPr/>
        <a:lstStyle/>
        <a:p>
          <a:endParaRPr lang="en-US"/>
        </a:p>
      </dgm:t>
    </dgm:pt>
    <dgm:pt modelId="{F278CD18-15CA-4F02-A38E-7C911CBD43D0}" type="sibTrans" cxnId="{43BF124F-6FE4-4971-BA92-5DDB11719DDE}">
      <dgm:prSet/>
      <dgm:spPr/>
      <dgm:t>
        <a:bodyPr/>
        <a:lstStyle/>
        <a:p>
          <a:endParaRPr lang="en-US"/>
        </a:p>
      </dgm:t>
    </dgm:pt>
    <dgm:pt modelId="{A5D5D2C1-884F-40FD-B757-E67CF6257CF2}">
      <dgm:prSet/>
      <dgm:spPr/>
      <dgm:t>
        <a:bodyPr/>
        <a:lstStyle/>
        <a:p>
          <a:r>
            <a:rPr lang="en-US" baseline="0"/>
            <a:t>When the data is frequently returned in a sorted order.</a:t>
          </a:r>
          <a:endParaRPr lang="en-US"/>
        </a:p>
      </dgm:t>
    </dgm:pt>
    <dgm:pt modelId="{2D98A28F-30D3-4EED-AE76-731B383CD4B5}" type="parTrans" cxnId="{B9FAD2E2-0558-4D00-BED6-48499ED79AAB}">
      <dgm:prSet/>
      <dgm:spPr/>
      <dgm:t>
        <a:bodyPr/>
        <a:lstStyle/>
        <a:p>
          <a:endParaRPr lang="en-US"/>
        </a:p>
      </dgm:t>
    </dgm:pt>
    <dgm:pt modelId="{B67F0D77-059C-4A1E-A72E-A2F622AC9645}" type="sibTrans" cxnId="{B9FAD2E2-0558-4D00-BED6-48499ED79AAB}">
      <dgm:prSet/>
      <dgm:spPr/>
      <dgm:t>
        <a:bodyPr/>
        <a:lstStyle/>
        <a:p>
          <a:endParaRPr lang="en-US"/>
        </a:p>
      </dgm:t>
    </dgm:pt>
    <dgm:pt modelId="{21526704-0A70-4BBC-BBE6-94403A7F62E5}">
      <dgm:prSet/>
      <dgm:spPr/>
      <dgm:t>
        <a:bodyPr/>
        <a:lstStyle/>
        <a:p>
          <a:r>
            <a:rPr lang="en-US" baseline="0"/>
            <a:t>When the data is frequently grouped together.</a:t>
          </a:r>
          <a:endParaRPr lang="en-US"/>
        </a:p>
      </dgm:t>
    </dgm:pt>
    <dgm:pt modelId="{B33D1518-D3E3-4B0F-9511-D9A8E6A12602}" type="parTrans" cxnId="{D691DF64-D8CB-41A7-8C29-A62EFA5890A7}">
      <dgm:prSet/>
      <dgm:spPr/>
      <dgm:t>
        <a:bodyPr/>
        <a:lstStyle/>
        <a:p>
          <a:endParaRPr lang="en-US"/>
        </a:p>
      </dgm:t>
    </dgm:pt>
    <dgm:pt modelId="{95E6E294-FFB9-4D73-8D63-F0EABD154D16}" type="sibTrans" cxnId="{D691DF64-D8CB-41A7-8C29-A62EFA5890A7}">
      <dgm:prSet/>
      <dgm:spPr/>
      <dgm:t>
        <a:bodyPr/>
        <a:lstStyle/>
        <a:p>
          <a:endParaRPr lang="en-US"/>
        </a:p>
      </dgm:t>
    </dgm:pt>
    <dgm:pt modelId="{FDFAE3EA-EBDC-4D3B-9F4C-B43149299FE8}">
      <dgm:prSet/>
      <dgm:spPr/>
      <dgm:t>
        <a:bodyPr/>
        <a:lstStyle/>
        <a:p>
          <a:r>
            <a:rPr lang="en-US" baseline="0"/>
            <a:t>When ranges of data are frequently queried from the table.</a:t>
          </a:r>
          <a:endParaRPr lang="en-US"/>
        </a:p>
      </dgm:t>
    </dgm:pt>
    <dgm:pt modelId="{0A17CF97-19BB-4704-BBA6-0AF8C8CCC71B}" type="parTrans" cxnId="{3A32B37C-E589-46C7-A714-CCEFBDEC8004}">
      <dgm:prSet/>
      <dgm:spPr/>
      <dgm:t>
        <a:bodyPr/>
        <a:lstStyle/>
        <a:p>
          <a:endParaRPr lang="en-US"/>
        </a:p>
      </dgm:t>
    </dgm:pt>
    <dgm:pt modelId="{8E56AF8B-8B6C-400A-9230-3E851E05AB9E}" type="sibTrans" cxnId="{3A32B37C-E589-46C7-A714-CCEFBDEC8004}">
      <dgm:prSet/>
      <dgm:spPr/>
      <dgm:t>
        <a:bodyPr/>
        <a:lstStyle/>
        <a:p>
          <a:endParaRPr lang="en-US"/>
        </a:p>
      </dgm:t>
    </dgm:pt>
    <dgm:pt modelId="{09272B75-2F8F-4E04-8871-5188B65EC0D7}">
      <dgm:prSet/>
      <dgm:spPr/>
      <dgm:t>
        <a:bodyPr/>
        <a:lstStyle/>
        <a:p>
          <a:r>
            <a:rPr lang="en-US" baseline="0" dirty="0"/>
            <a:t>When there are no nonclustered indexes and the table is large.</a:t>
          </a:r>
          <a:endParaRPr lang="en-US" dirty="0"/>
        </a:p>
      </dgm:t>
    </dgm:pt>
    <dgm:pt modelId="{08C334B9-D63D-4B3D-9F6F-4F2099BE1D40}" type="parTrans" cxnId="{1EA848B3-46C7-4B6F-B620-84DC6AD6942F}">
      <dgm:prSet/>
      <dgm:spPr/>
      <dgm:t>
        <a:bodyPr/>
        <a:lstStyle/>
        <a:p>
          <a:endParaRPr lang="en-US"/>
        </a:p>
      </dgm:t>
    </dgm:pt>
    <dgm:pt modelId="{6A4566A5-0F05-4466-B87D-D601C5D6EF8D}" type="sibTrans" cxnId="{1EA848B3-46C7-4B6F-B620-84DC6AD6942F}">
      <dgm:prSet/>
      <dgm:spPr/>
      <dgm:t>
        <a:bodyPr/>
        <a:lstStyle/>
        <a:p>
          <a:endParaRPr lang="en-US"/>
        </a:p>
      </dgm:t>
    </dgm:pt>
    <dgm:pt modelId="{7DA62BC5-02E7-40F7-AB15-40F597F2C683}" type="pres">
      <dgm:prSet presAssocID="{1F55FE93-39E3-4605-BB77-6DCFA89EBF6E}" presName="linear" presStyleCnt="0">
        <dgm:presLayoutVars>
          <dgm:animLvl val="lvl"/>
          <dgm:resizeHandles val="exact"/>
        </dgm:presLayoutVars>
      </dgm:prSet>
      <dgm:spPr/>
    </dgm:pt>
    <dgm:pt modelId="{78BAC18E-F98D-4D88-9E1A-8E15AF4F1B34}" type="pres">
      <dgm:prSet presAssocID="{5811C830-D7DE-4F1F-9748-9439256DBB4F}" presName="parentText" presStyleLbl="node1" presStyleIdx="0" presStyleCnt="5">
        <dgm:presLayoutVars>
          <dgm:chMax val="0"/>
          <dgm:bulletEnabled val="1"/>
        </dgm:presLayoutVars>
      </dgm:prSet>
      <dgm:spPr/>
    </dgm:pt>
    <dgm:pt modelId="{C01D942A-CFAB-44B5-B79B-AA42BA6963EF}" type="pres">
      <dgm:prSet presAssocID="{CA66D173-6EC5-403B-981E-FDFFE1232B41}" presName="spacer" presStyleCnt="0"/>
      <dgm:spPr/>
    </dgm:pt>
    <dgm:pt modelId="{6D51083E-3BDA-4C7F-A063-C569DF8ECAA6}" type="pres">
      <dgm:prSet presAssocID="{69A340BC-1EB3-4FB7-B22B-1F3414F19B54}" presName="parentText" presStyleLbl="node1" presStyleIdx="1" presStyleCnt="5">
        <dgm:presLayoutVars>
          <dgm:chMax val="0"/>
          <dgm:bulletEnabled val="1"/>
        </dgm:presLayoutVars>
      </dgm:prSet>
      <dgm:spPr/>
    </dgm:pt>
    <dgm:pt modelId="{F25A3781-99C6-452F-BF99-DB0D32C5A65F}" type="pres">
      <dgm:prSet presAssocID="{69ABC762-2EB5-45A0-AFBF-68514F7EAE6F}" presName="spacer" presStyleCnt="0"/>
      <dgm:spPr/>
    </dgm:pt>
    <dgm:pt modelId="{C5E1568C-DF25-487A-9DF0-1A7393314D27}" type="pres">
      <dgm:prSet presAssocID="{4010956E-A757-453D-A8CF-85F7F6735FC4}" presName="parentText" presStyleLbl="node1" presStyleIdx="2" presStyleCnt="5">
        <dgm:presLayoutVars>
          <dgm:chMax val="0"/>
          <dgm:bulletEnabled val="1"/>
        </dgm:presLayoutVars>
      </dgm:prSet>
      <dgm:spPr/>
    </dgm:pt>
    <dgm:pt modelId="{974DA32D-4752-44F6-B8B5-A063616FD1D5}" type="pres">
      <dgm:prSet presAssocID="{8BB1EAE4-DFF6-4329-A6BF-7FA571512944}" presName="spacer" presStyleCnt="0"/>
      <dgm:spPr/>
    </dgm:pt>
    <dgm:pt modelId="{C7CACAF1-8E2B-4142-8355-1EB9D4AFA673}" type="pres">
      <dgm:prSet presAssocID="{C34F9976-41D0-484E-8A2E-93ED7DEF385C}" presName="parentText" presStyleLbl="node1" presStyleIdx="3" presStyleCnt="5">
        <dgm:presLayoutVars>
          <dgm:chMax val="0"/>
          <dgm:bulletEnabled val="1"/>
        </dgm:presLayoutVars>
      </dgm:prSet>
      <dgm:spPr/>
    </dgm:pt>
    <dgm:pt modelId="{F5248EAF-5D31-4E4A-AA6F-AA4FC13CCD67}" type="pres">
      <dgm:prSet presAssocID="{B0C5C221-83ED-40B4-8217-8FD0E9FBC2C8}" presName="spacer" presStyleCnt="0"/>
      <dgm:spPr/>
    </dgm:pt>
    <dgm:pt modelId="{4F0061D7-D698-440E-8A4A-6D559561E831}" type="pres">
      <dgm:prSet presAssocID="{169DC16F-163F-4566-813C-6D8659FDC27B}" presName="parentText" presStyleLbl="node1" presStyleIdx="4" presStyleCnt="5">
        <dgm:presLayoutVars>
          <dgm:chMax val="0"/>
          <dgm:bulletEnabled val="1"/>
        </dgm:presLayoutVars>
      </dgm:prSet>
      <dgm:spPr/>
    </dgm:pt>
    <dgm:pt modelId="{2A808A04-D311-4807-9060-D60C36113DBD}" type="pres">
      <dgm:prSet presAssocID="{169DC16F-163F-4566-813C-6D8659FDC27B}" presName="childText" presStyleLbl="revTx" presStyleIdx="0" presStyleCnt="1">
        <dgm:presLayoutVars>
          <dgm:bulletEnabled val="1"/>
        </dgm:presLayoutVars>
      </dgm:prSet>
      <dgm:spPr/>
    </dgm:pt>
  </dgm:ptLst>
  <dgm:cxnLst>
    <dgm:cxn modelId="{3D99EA06-7F36-4A7F-9734-9856A1283B8B}" type="presOf" srcId="{169DC16F-163F-4566-813C-6D8659FDC27B}" destId="{4F0061D7-D698-440E-8A4A-6D559561E831}" srcOrd="0" destOrd="0" presId="urn:microsoft.com/office/officeart/2005/8/layout/vList2"/>
    <dgm:cxn modelId="{0CA85320-035A-4D04-8B63-163F38A511AD}" type="presOf" srcId="{1F55FE93-39E3-4605-BB77-6DCFA89EBF6E}" destId="{7DA62BC5-02E7-40F7-AB15-40F597F2C683}" srcOrd="0" destOrd="0" presId="urn:microsoft.com/office/officeart/2005/8/layout/vList2"/>
    <dgm:cxn modelId="{6F32C041-5FE3-41C5-9547-DF002D0FFEF4}" type="presOf" srcId="{A5D5D2C1-884F-40FD-B757-E67CF6257CF2}" destId="{2A808A04-D311-4807-9060-D60C36113DBD}" srcOrd="0" destOrd="0" presId="urn:microsoft.com/office/officeart/2005/8/layout/vList2"/>
    <dgm:cxn modelId="{D691DF64-D8CB-41A7-8C29-A62EFA5890A7}" srcId="{169DC16F-163F-4566-813C-6D8659FDC27B}" destId="{21526704-0A70-4BBC-BBE6-94403A7F62E5}" srcOrd="1" destOrd="0" parTransId="{B33D1518-D3E3-4B0F-9511-D9A8E6A12602}" sibTransId="{95E6E294-FFB9-4D73-8D63-F0EABD154D16}"/>
    <dgm:cxn modelId="{C2CAAF6C-BD3B-4102-BC13-1DCBDD780B32}" type="presOf" srcId="{5811C830-D7DE-4F1F-9748-9439256DBB4F}" destId="{78BAC18E-F98D-4D88-9E1A-8E15AF4F1B34}" srcOrd="0" destOrd="0" presId="urn:microsoft.com/office/officeart/2005/8/layout/vList2"/>
    <dgm:cxn modelId="{43BF124F-6FE4-4971-BA92-5DDB11719DDE}" srcId="{1F55FE93-39E3-4605-BB77-6DCFA89EBF6E}" destId="{169DC16F-163F-4566-813C-6D8659FDC27B}" srcOrd="4" destOrd="0" parTransId="{663FC982-F31B-4A1A-99BC-71387001A87C}" sibTransId="{F278CD18-15CA-4F02-A38E-7C911CBD43D0}"/>
    <dgm:cxn modelId="{3A32B37C-E589-46C7-A714-CCEFBDEC8004}" srcId="{169DC16F-163F-4566-813C-6D8659FDC27B}" destId="{FDFAE3EA-EBDC-4D3B-9F4C-B43149299FE8}" srcOrd="2" destOrd="0" parTransId="{0A17CF97-19BB-4704-BBA6-0AF8C8CCC71B}" sibTransId="{8E56AF8B-8B6C-400A-9230-3E851E05AB9E}"/>
    <dgm:cxn modelId="{D8BF728A-9632-407B-9FA0-8144CF79A51D}" srcId="{1F55FE93-39E3-4605-BB77-6DCFA89EBF6E}" destId="{4010956E-A757-453D-A8CF-85F7F6735FC4}" srcOrd="2" destOrd="0" parTransId="{1892F19F-1854-4383-A824-464E3BD7F374}" sibTransId="{8BB1EAE4-DFF6-4329-A6BF-7FA571512944}"/>
    <dgm:cxn modelId="{11B6A48A-F20C-4601-AB86-022F29F41E29}" srcId="{1F55FE93-39E3-4605-BB77-6DCFA89EBF6E}" destId="{69A340BC-1EB3-4FB7-B22B-1F3414F19B54}" srcOrd="1" destOrd="0" parTransId="{A5A7E0B2-0284-4654-80C5-C1B19942A90D}" sibTransId="{69ABC762-2EB5-45A0-AFBF-68514F7EAE6F}"/>
    <dgm:cxn modelId="{4A88FA95-FAC0-4F32-9727-E00B9AE3E0A8}" type="presOf" srcId="{21526704-0A70-4BBC-BBE6-94403A7F62E5}" destId="{2A808A04-D311-4807-9060-D60C36113DBD}" srcOrd="0" destOrd="1" presId="urn:microsoft.com/office/officeart/2005/8/layout/vList2"/>
    <dgm:cxn modelId="{1EA848B3-46C7-4B6F-B620-84DC6AD6942F}" srcId="{169DC16F-163F-4566-813C-6D8659FDC27B}" destId="{09272B75-2F8F-4E04-8871-5188B65EC0D7}" srcOrd="3" destOrd="0" parTransId="{08C334B9-D63D-4B3D-9F6F-4F2099BE1D40}" sibTransId="{6A4566A5-0F05-4466-B87D-D601C5D6EF8D}"/>
    <dgm:cxn modelId="{0DA373C7-A614-45D1-B3D9-FBEB092AB205}" type="presOf" srcId="{69A340BC-1EB3-4FB7-B22B-1F3414F19B54}" destId="{6D51083E-3BDA-4C7F-A063-C569DF8ECAA6}" srcOrd="0" destOrd="0" presId="urn:microsoft.com/office/officeart/2005/8/layout/vList2"/>
    <dgm:cxn modelId="{01C8AAC8-5E2D-42F1-B500-BBBE02359324}" type="presOf" srcId="{4010956E-A757-453D-A8CF-85F7F6735FC4}" destId="{C5E1568C-DF25-487A-9DF0-1A7393314D27}" srcOrd="0" destOrd="0" presId="urn:microsoft.com/office/officeart/2005/8/layout/vList2"/>
    <dgm:cxn modelId="{37565BCC-95A8-4341-A7DB-108EE937A35D}" type="presOf" srcId="{09272B75-2F8F-4E04-8871-5188B65EC0D7}" destId="{2A808A04-D311-4807-9060-D60C36113DBD}" srcOrd="0" destOrd="3" presId="urn:microsoft.com/office/officeart/2005/8/layout/vList2"/>
    <dgm:cxn modelId="{000D2ED6-840A-4462-B15F-3A33C318A0B2}" srcId="{1F55FE93-39E3-4605-BB77-6DCFA89EBF6E}" destId="{C34F9976-41D0-484E-8A2E-93ED7DEF385C}" srcOrd="3" destOrd="0" parTransId="{C583653F-4E8D-4608-9B73-8681C2388C19}" sibTransId="{B0C5C221-83ED-40B4-8217-8FD0E9FBC2C8}"/>
    <dgm:cxn modelId="{B9FAD2E2-0558-4D00-BED6-48499ED79AAB}" srcId="{169DC16F-163F-4566-813C-6D8659FDC27B}" destId="{A5D5D2C1-884F-40FD-B757-E67CF6257CF2}" srcOrd="0" destOrd="0" parTransId="{2D98A28F-30D3-4EED-AE76-731B383CD4B5}" sibTransId="{B67F0D77-059C-4A1E-A72E-A2F622AC9645}"/>
    <dgm:cxn modelId="{295439E4-C2D5-491C-B324-3C2259E7F5B1}" type="presOf" srcId="{C34F9976-41D0-484E-8A2E-93ED7DEF385C}" destId="{C7CACAF1-8E2B-4142-8355-1EB9D4AFA673}" srcOrd="0" destOrd="0" presId="urn:microsoft.com/office/officeart/2005/8/layout/vList2"/>
    <dgm:cxn modelId="{382D56EF-784E-4C9A-AFD2-B51BBD94C491}" type="presOf" srcId="{FDFAE3EA-EBDC-4D3B-9F4C-B43149299FE8}" destId="{2A808A04-D311-4807-9060-D60C36113DBD}" srcOrd="0" destOrd="2" presId="urn:microsoft.com/office/officeart/2005/8/layout/vList2"/>
    <dgm:cxn modelId="{CD8B46F1-BF9D-4EEA-A5E3-AD532B3B78C7}" srcId="{1F55FE93-39E3-4605-BB77-6DCFA89EBF6E}" destId="{5811C830-D7DE-4F1F-9748-9439256DBB4F}" srcOrd="0" destOrd="0" parTransId="{5D07CD05-A5D0-4261-8BA1-DD2ECD012D43}" sibTransId="{CA66D173-6EC5-403B-981E-FDFFE1232B41}"/>
    <dgm:cxn modelId="{0B4A63F3-2CDB-4E8B-B286-8F4FAEEF1AA7}" type="presParOf" srcId="{7DA62BC5-02E7-40F7-AB15-40F597F2C683}" destId="{78BAC18E-F98D-4D88-9E1A-8E15AF4F1B34}" srcOrd="0" destOrd="0" presId="urn:microsoft.com/office/officeart/2005/8/layout/vList2"/>
    <dgm:cxn modelId="{5314E44E-2FD4-464C-AE5E-BBCBA87F274F}" type="presParOf" srcId="{7DA62BC5-02E7-40F7-AB15-40F597F2C683}" destId="{C01D942A-CFAB-44B5-B79B-AA42BA6963EF}" srcOrd="1" destOrd="0" presId="urn:microsoft.com/office/officeart/2005/8/layout/vList2"/>
    <dgm:cxn modelId="{5C4B507C-430E-4240-ABF1-A1AC5878ECE3}" type="presParOf" srcId="{7DA62BC5-02E7-40F7-AB15-40F597F2C683}" destId="{6D51083E-3BDA-4C7F-A063-C569DF8ECAA6}" srcOrd="2" destOrd="0" presId="urn:microsoft.com/office/officeart/2005/8/layout/vList2"/>
    <dgm:cxn modelId="{FB988D1D-8564-48F8-BE28-E8E111F84C51}" type="presParOf" srcId="{7DA62BC5-02E7-40F7-AB15-40F597F2C683}" destId="{F25A3781-99C6-452F-BF99-DB0D32C5A65F}" srcOrd="3" destOrd="0" presId="urn:microsoft.com/office/officeart/2005/8/layout/vList2"/>
    <dgm:cxn modelId="{1C84B7A3-97C9-4CA7-A498-C78B573217FF}" type="presParOf" srcId="{7DA62BC5-02E7-40F7-AB15-40F597F2C683}" destId="{C5E1568C-DF25-487A-9DF0-1A7393314D27}" srcOrd="4" destOrd="0" presId="urn:microsoft.com/office/officeart/2005/8/layout/vList2"/>
    <dgm:cxn modelId="{642970BF-9BE9-4E40-BD6A-78903E18E157}" type="presParOf" srcId="{7DA62BC5-02E7-40F7-AB15-40F597F2C683}" destId="{974DA32D-4752-44F6-B8B5-A063616FD1D5}" srcOrd="5" destOrd="0" presId="urn:microsoft.com/office/officeart/2005/8/layout/vList2"/>
    <dgm:cxn modelId="{E2B4D30F-E418-44A8-9EEA-F15D26B3ABBD}" type="presParOf" srcId="{7DA62BC5-02E7-40F7-AB15-40F597F2C683}" destId="{C7CACAF1-8E2B-4142-8355-1EB9D4AFA673}" srcOrd="6" destOrd="0" presId="urn:microsoft.com/office/officeart/2005/8/layout/vList2"/>
    <dgm:cxn modelId="{BC8E85BD-074F-464B-ABF0-1143D11BC6D9}" type="presParOf" srcId="{7DA62BC5-02E7-40F7-AB15-40F597F2C683}" destId="{F5248EAF-5D31-4E4A-AA6F-AA4FC13CCD67}" srcOrd="7" destOrd="0" presId="urn:microsoft.com/office/officeart/2005/8/layout/vList2"/>
    <dgm:cxn modelId="{630B5794-16BA-4B45-819A-3E934ADB29D4}" type="presParOf" srcId="{7DA62BC5-02E7-40F7-AB15-40F597F2C683}" destId="{4F0061D7-D698-440E-8A4A-6D559561E831}" srcOrd="8" destOrd="0" presId="urn:microsoft.com/office/officeart/2005/8/layout/vList2"/>
    <dgm:cxn modelId="{6EC34D2B-8197-4620-99B5-6D3141AFA8BF}" type="presParOf" srcId="{7DA62BC5-02E7-40F7-AB15-40F597F2C683}" destId="{2A808A04-D311-4807-9060-D60C36113DBD}"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C30745-E177-40AE-83F3-00955AE4B0D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510EAD0-82C4-46FB-A3B5-0FBA4E1F33AD}">
      <dgm:prSet/>
      <dgm:spPr/>
      <dgm:t>
        <a:bodyPr/>
        <a:lstStyle/>
        <a:p>
          <a:r>
            <a:rPr lang="en-US" baseline="0" dirty="0"/>
            <a:t>An ordered data structure that is implemented as a Balanced (B) Tree.</a:t>
          </a:r>
          <a:endParaRPr lang="en-US" dirty="0"/>
        </a:p>
      </dgm:t>
    </dgm:pt>
    <dgm:pt modelId="{0CD25B61-1CD1-48F4-AACF-A7650D9E7CEF}" type="parTrans" cxnId="{4FD3D87F-E324-4022-AECA-FAF7FA180975}">
      <dgm:prSet/>
      <dgm:spPr/>
      <dgm:t>
        <a:bodyPr/>
        <a:lstStyle/>
        <a:p>
          <a:endParaRPr lang="en-US"/>
        </a:p>
      </dgm:t>
    </dgm:pt>
    <dgm:pt modelId="{352F8E03-ACFB-4ED3-A72B-5507D1386F24}" type="sibTrans" cxnId="{4FD3D87F-E324-4022-AECA-FAF7FA180975}">
      <dgm:prSet/>
      <dgm:spPr/>
      <dgm:t>
        <a:bodyPr/>
        <a:lstStyle/>
        <a:p>
          <a:endParaRPr lang="en-US"/>
        </a:p>
      </dgm:t>
    </dgm:pt>
    <dgm:pt modelId="{BD7550B3-7175-4F09-8C63-D7A003C78A24}">
      <dgm:prSet/>
      <dgm:spPr/>
      <dgm:t>
        <a:bodyPr/>
        <a:lstStyle/>
        <a:p>
          <a:r>
            <a:rPr lang="en-US" baseline="0" dirty="0"/>
            <a:t>When a table is clustered, the leaf level of the index contains ALL data in the table. This means that the clustered index IS the table. This is also why there is only one per table.</a:t>
          </a:r>
          <a:endParaRPr lang="en-US" dirty="0"/>
        </a:p>
      </dgm:t>
    </dgm:pt>
    <dgm:pt modelId="{8E781184-2945-40A8-9A77-D283954DB444}" type="parTrans" cxnId="{3C3B8FA8-BE5F-4C58-9D29-4EE7E780C162}">
      <dgm:prSet/>
      <dgm:spPr/>
      <dgm:t>
        <a:bodyPr/>
        <a:lstStyle/>
        <a:p>
          <a:endParaRPr lang="en-US"/>
        </a:p>
      </dgm:t>
    </dgm:pt>
    <dgm:pt modelId="{A9B5B686-0086-4CE1-8C09-52C127677A70}" type="sibTrans" cxnId="{3C3B8FA8-BE5F-4C58-9D29-4EE7E780C162}">
      <dgm:prSet/>
      <dgm:spPr/>
      <dgm:t>
        <a:bodyPr/>
        <a:lstStyle/>
        <a:p>
          <a:endParaRPr lang="en-US"/>
        </a:p>
      </dgm:t>
    </dgm:pt>
    <dgm:pt modelId="{0799EEDA-4FCC-46D4-A318-7A0132DEB4FA}">
      <dgm:prSet/>
      <dgm:spPr/>
      <dgm:t>
        <a:bodyPr/>
        <a:lstStyle/>
        <a:p>
          <a:r>
            <a:rPr lang="en-US" baseline="0" dirty="0"/>
            <a:t>The leaf level of the clustered index contains data pages.</a:t>
          </a:r>
          <a:endParaRPr lang="en-US" dirty="0"/>
        </a:p>
      </dgm:t>
    </dgm:pt>
    <dgm:pt modelId="{1AA5EF74-31A9-4C0B-9DCE-8C326EB735DA}" type="parTrans" cxnId="{BDACCE14-1418-4628-B170-14C9AF52ADCB}">
      <dgm:prSet/>
      <dgm:spPr/>
      <dgm:t>
        <a:bodyPr/>
        <a:lstStyle/>
        <a:p>
          <a:endParaRPr lang="en-US"/>
        </a:p>
      </dgm:t>
    </dgm:pt>
    <dgm:pt modelId="{757E11B7-695A-4EC5-9019-C211684A5DAE}" type="sibTrans" cxnId="{BDACCE14-1418-4628-B170-14C9AF52ADCB}">
      <dgm:prSet/>
      <dgm:spPr/>
      <dgm:t>
        <a:bodyPr/>
        <a:lstStyle/>
        <a:p>
          <a:endParaRPr lang="en-US"/>
        </a:p>
      </dgm:t>
    </dgm:pt>
    <dgm:pt modelId="{E6744BF0-90DD-4EBD-BDB8-EBD3F91428C9}" type="pres">
      <dgm:prSet presAssocID="{E2C30745-E177-40AE-83F3-00955AE4B0D9}" presName="linear" presStyleCnt="0">
        <dgm:presLayoutVars>
          <dgm:animLvl val="lvl"/>
          <dgm:resizeHandles val="exact"/>
        </dgm:presLayoutVars>
      </dgm:prSet>
      <dgm:spPr/>
    </dgm:pt>
    <dgm:pt modelId="{A1A4F1D5-41C2-47BF-B5FE-A18F96234B49}" type="pres">
      <dgm:prSet presAssocID="{C510EAD0-82C4-46FB-A3B5-0FBA4E1F33AD}" presName="parentText" presStyleLbl="node1" presStyleIdx="0" presStyleCnt="3">
        <dgm:presLayoutVars>
          <dgm:chMax val="0"/>
          <dgm:bulletEnabled val="1"/>
        </dgm:presLayoutVars>
      </dgm:prSet>
      <dgm:spPr/>
    </dgm:pt>
    <dgm:pt modelId="{F45EBD57-9F07-45EA-889A-033BB983CEC3}" type="pres">
      <dgm:prSet presAssocID="{352F8E03-ACFB-4ED3-A72B-5507D1386F24}" presName="spacer" presStyleCnt="0"/>
      <dgm:spPr/>
    </dgm:pt>
    <dgm:pt modelId="{272C75D4-FE2C-4F99-AD49-5CE01435D04E}" type="pres">
      <dgm:prSet presAssocID="{BD7550B3-7175-4F09-8C63-D7A003C78A24}" presName="parentText" presStyleLbl="node1" presStyleIdx="1" presStyleCnt="3">
        <dgm:presLayoutVars>
          <dgm:chMax val="0"/>
          <dgm:bulletEnabled val="1"/>
        </dgm:presLayoutVars>
      </dgm:prSet>
      <dgm:spPr/>
    </dgm:pt>
    <dgm:pt modelId="{21AD7DE9-9D16-4566-AD23-E0D8CFC2A712}" type="pres">
      <dgm:prSet presAssocID="{A9B5B686-0086-4CE1-8C09-52C127677A70}" presName="spacer" presStyleCnt="0"/>
      <dgm:spPr/>
    </dgm:pt>
    <dgm:pt modelId="{1010B9F4-9CFE-405A-82DD-61C9B71DB62F}" type="pres">
      <dgm:prSet presAssocID="{0799EEDA-4FCC-46D4-A318-7A0132DEB4FA}" presName="parentText" presStyleLbl="node1" presStyleIdx="2" presStyleCnt="3">
        <dgm:presLayoutVars>
          <dgm:chMax val="0"/>
          <dgm:bulletEnabled val="1"/>
        </dgm:presLayoutVars>
      </dgm:prSet>
      <dgm:spPr/>
    </dgm:pt>
  </dgm:ptLst>
  <dgm:cxnLst>
    <dgm:cxn modelId="{BDACCE14-1418-4628-B170-14C9AF52ADCB}" srcId="{E2C30745-E177-40AE-83F3-00955AE4B0D9}" destId="{0799EEDA-4FCC-46D4-A318-7A0132DEB4FA}" srcOrd="2" destOrd="0" parTransId="{1AA5EF74-31A9-4C0B-9DCE-8C326EB735DA}" sibTransId="{757E11B7-695A-4EC5-9019-C211684A5DAE}"/>
    <dgm:cxn modelId="{C8BF5B20-098C-485B-8F40-86645321D361}" type="presOf" srcId="{BD7550B3-7175-4F09-8C63-D7A003C78A24}" destId="{272C75D4-FE2C-4F99-AD49-5CE01435D04E}" srcOrd="0" destOrd="0" presId="urn:microsoft.com/office/officeart/2005/8/layout/vList2"/>
    <dgm:cxn modelId="{668A1166-EA91-4B8C-8AB5-7BA74EF27F7F}" type="presOf" srcId="{0799EEDA-4FCC-46D4-A318-7A0132DEB4FA}" destId="{1010B9F4-9CFE-405A-82DD-61C9B71DB62F}" srcOrd="0" destOrd="0" presId="urn:microsoft.com/office/officeart/2005/8/layout/vList2"/>
    <dgm:cxn modelId="{4FD3D87F-E324-4022-AECA-FAF7FA180975}" srcId="{E2C30745-E177-40AE-83F3-00955AE4B0D9}" destId="{C510EAD0-82C4-46FB-A3B5-0FBA4E1F33AD}" srcOrd="0" destOrd="0" parTransId="{0CD25B61-1CD1-48F4-AACF-A7650D9E7CEF}" sibTransId="{352F8E03-ACFB-4ED3-A72B-5507D1386F24}"/>
    <dgm:cxn modelId="{3C3B8FA8-BE5F-4C58-9D29-4EE7E780C162}" srcId="{E2C30745-E177-40AE-83F3-00955AE4B0D9}" destId="{BD7550B3-7175-4F09-8C63-D7A003C78A24}" srcOrd="1" destOrd="0" parTransId="{8E781184-2945-40A8-9A77-D283954DB444}" sibTransId="{A9B5B686-0086-4CE1-8C09-52C127677A70}"/>
    <dgm:cxn modelId="{FA965BAE-023C-472F-BAE5-D55BE85A1951}" type="presOf" srcId="{C510EAD0-82C4-46FB-A3B5-0FBA4E1F33AD}" destId="{A1A4F1D5-41C2-47BF-B5FE-A18F96234B49}" srcOrd="0" destOrd="0" presId="urn:microsoft.com/office/officeart/2005/8/layout/vList2"/>
    <dgm:cxn modelId="{F207A5E4-2BF5-4741-B448-328797CB25A7}" type="presOf" srcId="{E2C30745-E177-40AE-83F3-00955AE4B0D9}" destId="{E6744BF0-90DD-4EBD-BDB8-EBD3F91428C9}" srcOrd="0" destOrd="0" presId="urn:microsoft.com/office/officeart/2005/8/layout/vList2"/>
    <dgm:cxn modelId="{AB764A6C-F6DC-42B3-80A6-05C19948E8B3}" type="presParOf" srcId="{E6744BF0-90DD-4EBD-BDB8-EBD3F91428C9}" destId="{A1A4F1D5-41C2-47BF-B5FE-A18F96234B49}" srcOrd="0" destOrd="0" presId="urn:microsoft.com/office/officeart/2005/8/layout/vList2"/>
    <dgm:cxn modelId="{CE2AE67D-65C7-4B83-A0DA-A2541F3C613A}" type="presParOf" srcId="{E6744BF0-90DD-4EBD-BDB8-EBD3F91428C9}" destId="{F45EBD57-9F07-45EA-889A-033BB983CEC3}" srcOrd="1" destOrd="0" presId="urn:microsoft.com/office/officeart/2005/8/layout/vList2"/>
    <dgm:cxn modelId="{B58BF27B-0C7F-48E1-BCAF-D9FBAE086E7A}" type="presParOf" srcId="{E6744BF0-90DD-4EBD-BDB8-EBD3F91428C9}" destId="{272C75D4-FE2C-4F99-AD49-5CE01435D04E}" srcOrd="2" destOrd="0" presId="urn:microsoft.com/office/officeart/2005/8/layout/vList2"/>
    <dgm:cxn modelId="{E38CCE5A-ACA6-4385-9319-AEBC5256B1E7}" type="presParOf" srcId="{E6744BF0-90DD-4EBD-BDB8-EBD3F91428C9}" destId="{21AD7DE9-9D16-4566-AD23-E0D8CFC2A712}" srcOrd="3" destOrd="0" presId="urn:microsoft.com/office/officeart/2005/8/layout/vList2"/>
    <dgm:cxn modelId="{8A0E0A03-AE89-499E-9979-936FB74AD331}" type="presParOf" srcId="{E6744BF0-90DD-4EBD-BDB8-EBD3F91428C9}" destId="{1010B9F4-9CFE-405A-82DD-61C9B71DB62F}"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2C30745-E177-40AE-83F3-00955AE4B0D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6744BF0-90DD-4EBD-BDB8-EBD3F91428C9}" type="pres">
      <dgm:prSet presAssocID="{E2C30745-E177-40AE-83F3-00955AE4B0D9}" presName="linear" presStyleCnt="0">
        <dgm:presLayoutVars>
          <dgm:animLvl val="lvl"/>
          <dgm:resizeHandles val="exact"/>
        </dgm:presLayoutVars>
      </dgm:prSet>
      <dgm:spPr/>
    </dgm:pt>
  </dgm:ptLst>
  <dgm:cxnLst>
    <dgm:cxn modelId="{F207A5E4-2BF5-4741-B448-328797CB25A7}" type="presOf" srcId="{E2C30745-E177-40AE-83F3-00955AE4B0D9}" destId="{E6744BF0-90DD-4EBD-BDB8-EBD3F91428C9}"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719ECA3-3CE0-46D1-9FF4-9EE3D9D0A6D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2917527-7086-4B85-A4D9-8FDA7C1764A4}">
      <dgm:prSet/>
      <dgm:spPr/>
      <dgm:t>
        <a:bodyPr/>
        <a:lstStyle/>
        <a:p>
          <a:r>
            <a:rPr lang="en-US" baseline="0"/>
            <a:t>Same B-tree data structure as a clustered index.</a:t>
          </a:r>
          <a:endParaRPr lang="en-US"/>
        </a:p>
      </dgm:t>
    </dgm:pt>
    <dgm:pt modelId="{085D596E-D229-4F12-89C5-5953F770FE09}" type="parTrans" cxnId="{10225714-E408-45E6-AE21-111206D474A9}">
      <dgm:prSet/>
      <dgm:spPr/>
      <dgm:t>
        <a:bodyPr/>
        <a:lstStyle/>
        <a:p>
          <a:endParaRPr lang="en-US"/>
        </a:p>
      </dgm:t>
    </dgm:pt>
    <dgm:pt modelId="{32F926CA-3310-4CD9-BD3B-C1989F83BC78}" type="sibTrans" cxnId="{10225714-E408-45E6-AE21-111206D474A9}">
      <dgm:prSet/>
      <dgm:spPr/>
      <dgm:t>
        <a:bodyPr/>
        <a:lstStyle/>
        <a:p>
          <a:endParaRPr lang="en-US"/>
        </a:p>
      </dgm:t>
    </dgm:pt>
    <dgm:pt modelId="{232B8A2F-60B3-4F3B-8958-40663FBB233D}">
      <dgm:prSet/>
      <dgm:spPr/>
      <dgm:t>
        <a:bodyPr/>
        <a:lstStyle/>
        <a:p>
          <a:r>
            <a:rPr lang="en-US" baseline="0" dirty="0"/>
            <a:t>It is a separate structure built on top of a Heap or Clustered Index.</a:t>
          </a:r>
          <a:endParaRPr lang="en-US" dirty="0"/>
        </a:p>
      </dgm:t>
    </dgm:pt>
    <dgm:pt modelId="{BEDBC1AA-C3C9-4C37-93EA-F0B9A49A9AF1}" type="parTrans" cxnId="{6C5ED27B-501D-4756-9084-2C3BB3762A08}">
      <dgm:prSet/>
      <dgm:spPr/>
      <dgm:t>
        <a:bodyPr/>
        <a:lstStyle/>
        <a:p>
          <a:endParaRPr lang="en-US"/>
        </a:p>
      </dgm:t>
    </dgm:pt>
    <dgm:pt modelId="{6B173B4E-B112-484F-A378-D051F3976227}" type="sibTrans" cxnId="{6C5ED27B-501D-4756-9084-2C3BB3762A08}">
      <dgm:prSet/>
      <dgm:spPr/>
      <dgm:t>
        <a:bodyPr/>
        <a:lstStyle/>
        <a:p>
          <a:endParaRPr lang="en-US"/>
        </a:p>
      </dgm:t>
    </dgm:pt>
    <dgm:pt modelId="{1A944772-CB45-4E37-8643-BEFCB79E6E37}">
      <dgm:prSet/>
      <dgm:spPr/>
      <dgm:t>
        <a:bodyPr/>
        <a:lstStyle/>
        <a:p>
          <a:r>
            <a:rPr lang="en-US" baseline="0"/>
            <a:t>Only contains a subset of the columns in the base table</a:t>
          </a:r>
          <a:endParaRPr lang="en-US"/>
        </a:p>
      </dgm:t>
    </dgm:pt>
    <dgm:pt modelId="{CDB71A8F-2F56-403A-BB50-16410B9C5822}" type="parTrans" cxnId="{93CC801C-614D-4B44-A1A6-B2E3A9571FA5}">
      <dgm:prSet/>
      <dgm:spPr/>
      <dgm:t>
        <a:bodyPr/>
        <a:lstStyle/>
        <a:p>
          <a:endParaRPr lang="en-US"/>
        </a:p>
      </dgm:t>
    </dgm:pt>
    <dgm:pt modelId="{C1F78A9F-26CB-4A48-9EB7-7BDF24D2C4A5}" type="sibTrans" cxnId="{93CC801C-614D-4B44-A1A6-B2E3A9571FA5}">
      <dgm:prSet/>
      <dgm:spPr/>
      <dgm:t>
        <a:bodyPr/>
        <a:lstStyle/>
        <a:p>
          <a:endParaRPr lang="en-US"/>
        </a:p>
      </dgm:t>
    </dgm:pt>
    <dgm:pt modelId="{928176D8-5C1A-424A-AFA9-1DBF83F06279}">
      <dgm:prSet/>
      <dgm:spPr/>
      <dgm:t>
        <a:bodyPr/>
        <a:lstStyle/>
        <a:p>
          <a:r>
            <a:rPr lang="en-US" baseline="0"/>
            <a:t>The leaf level contains only the columns defined in the index as well as the clustered key/heap ID that points to the base table structure.</a:t>
          </a:r>
          <a:endParaRPr lang="en-US"/>
        </a:p>
      </dgm:t>
    </dgm:pt>
    <dgm:pt modelId="{47EA6C56-1E62-4AA9-9B98-3309E36833CB}" type="parTrans" cxnId="{74D0B935-876C-47F8-B8D3-030BC470F19F}">
      <dgm:prSet/>
      <dgm:spPr/>
      <dgm:t>
        <a:bodyPr/>
        <a:lstStyle/>
        <a:p>
          <a:endParaRPr lang="en-US"/>
        </a:p>
      </dgm:t>
    </dgm:pt>
    <dgm:pt modelId="{6BB9336A-1F14-4450-989D-32670C6BA7B8}" type="sibTrans" cxnId="{74D0B935-876C-47F8-B8D3-030BC470F19F}">
      <dgm:prSet/>
      <dgm:spPr/>
      <dgm:t>
        <a:bodyPr/>
        <a:lstStyle/>
        <a:p>
          <a:endParaRPr lang="en-US"/>
        </a:p>
      </dgm:t>
    </dgm:pt>
    <dgm:pt modelId="{A561CF7A-5999-4B30-8343-AC166968D64E}" type="pres">
      <dgm:prSet presAssocID="{F719ECA3-3CE0-46D1-9FF4-9EE3D9D0A6DF}" presName="linear" presStyleCnt="0">
        <dgm:presLayoutVars>
          <dgm:animLvl val="lvl"/>
          <dgm:resizeHandles val="exact"/>
        </dgm:presLayoutVars>
      </dgm:prSet>
      <dgm:spPr/>
    </dgm:pt>
    <dgm:pt modelId="{5F23565E-6737-4AFB-A68B-160EF0C2C51A}" type="pres">
      <dgm:prSet presAssocID="{D2917527-7086-4B85-A4D9-8FDA7C1764A4}" presName="parentText" presStyleLbl="node1" presStyleIdx="0" presStyleCnt="4">
        <dgm:presLayoutVars>
          <dgm:chMax val="0"/>
          <dgm:bulletEnabled val="1"/>
        </dgm:presLayoutVars>
      </dgm:prSet>
      <dgm:spPr/>
    </dgm:pt>
    <dgm:pt modelId="{3767CD8B-734E-41C7-AE3E-EC57CA5918CF}" type="pres">
      <dgm:prSet presAssocID="{32F926CA-3310-4CD9-BD3B-C1989F83BC78}" presName="spacer" presStyleCnt="0"/>
      <dgm:spPr/>
    </dgm:pt>
    <dgm:pt modelId="{1880E9D0-A6DF-48ED-935E-F11C8E85D0BB}" type="pres">
      <dgm:prSet presAssocID="{232B8A2F-60B3-4F3B-8958-40663FBB233D}" presName="parentText" presStyleLbl="node1" presStyleIdx="1" presStyleCnt="4">
        <dgm:presLayoutVars>
          <dgm:chMax val="0"/>
          <dgm:bulletEnabled val="1"/>
        </dgm:presLayoutVars>
      </dgm:prSet>
      <dgm:spPr/>
    </dgm:pt>
    <dgm:pt modelId="{56F7D4CC-6AE4-42FC-A1AE-0AFC347F1122}" type="pres">
      <dgm:prSet presAssocID="{6B173B4E-B112-484F-A378-D051F3976227}" presName="spacer" presStyleCnt="0"/>
      <dgm:spPr/>
    </dgm:pt>
    <dgm:pt modelId="{DEA7FF67-A53D-40E2-8100-834C5595951E}" type="pres">
      <dgm:prSet presAssocID="{1A944772-CB45-4E37-8643-BEFCB79E6E37}" presName="parentText" presStyleLbl="node1" presStyleIdx="2" presStyleCnt="4">
        <dgm:presLayoutVars>
          <dgm:chMax val="0"/>
          <dgm:bulletEnabled val="1"/>
        </dgm:presLayoutVars>
      </dgm:prSet>
      <dgm:spPr/>
    </dgm:pt>
    <dgm:pt modelId="{CDC8510A-AB56-425A-A2CA-7584493FB67E}" type="pres">
      <dgm:prSet presAssocID="{C1F78A9F-26CB-4A48-9EB7-7BDF24D2C4A5}" presName="spacer" presStyleCnt="0"/>
      <dgm:spPr/>
    </dgm:pt>
    <dgm:pt modelId="{8EA39431-ABE3-4904-9FF6-A2943CCFCA90}" type="pres">
      <dgm:prSet presAssocID="{928176D8-5C1A-424A-AFA9-1DBF83F06279}" presName="parentText" presStyleLbl="node1" presStyleIdx="3" presStyleCnt="4">
        <dgm:presLayoutVars>
          <dgm:chMax val="0"/>
          <dgm:bulletEnabled val="1"/>
        </dgm:presLayoutVars>
      </dgm:prSet>
      <dgm:spPr/>
    </dgm:pt>
  </dgm:ptLst>
  <dgm:cxnLst>
    <dgm:cxn modelId="{10225714-E408-45E6-AE21-111206D474A9}" srcId="{F719ECA3-3CE0-46D1-9FF4-9EE3D9D0A6DF}" destId="{D2917527-7086-4B85-A4D9-8FDA7C1764A4}" srcOrd="0" destOrd="0" parTransId="{085D596E-D229-4F12-89C5-5953F770FE09}" sibTransId="{32F926CA-3310-4CD9-BD3B-C1989F83BC78}"/>
    <dgm:cxn modelId="{93CC801C-614D-4B44-A1A6-B2E3A9571FA5}" srcId="{F719ECA3-3CE0-46D1-9FF4-9EE3D9D0A6DF}" destId="{1A944772-CB45-4E37-8643-BEFCB79E6E37}" srcOrd="2" destOrd="0" parTransId="{CDB71A8F-2F56-403A-BB50-16410B9C5822}" sibTransId="{C1F78A9F-26CB-4A48-9EB7-7BDF24D2C4A5}"/>
    <dgm:cxn modelId="{74D0B935-876C-47F8-B8D3-030BC470F19F}" srcId="{F719ECA3-3CE0-46D1-9FF4-9EE3D9D0A6DF}" destId="{928176D8-5C1A-424A-AFA9-1DBF83F06279}" srcOrd="3" destOrd="0" parTransId="{47EA6C56-1E62-4AA9-9B98-3309E36833CB}" sibTransId="{6BB9336A-1F14-4450-989D-32670C6BA7B8}"/>
    <dgm:cxn modelId="{11AAE643-A9BC-46F8-9AD6-B4F31E4B97A8}" type="presOf" srcId="{1A944772-CB45-4E37-8643-BEFCB79E6E37}" destId="{DEA7FF67-A53D-40E2-8100-834C5595951E}" srcOrd="0" destOrd="0" presId="urn:microsoft.com/office/officeart/2005/8/layout/vList2"/>
    <dgm:cxn modelId="{6C5ED27B-501D-4756-9084-2C3BB3762A08}" srcId="{F719ECA3-3CE0-46D1-9FF4-9EE3D9D0A6DF}" destId="{232B8A2F-60B3-4F3B-8958-40663FBB233D}" srcOrd="1" destOrd="0" parTransId="{BEDBC1AA-C3C9-4C37-93EA-F0B9A49A9AF1}" sibTransId="{6B173B4E-B112-484F-A378-D051F3976227}"/>
    <dgm:cxn modelId="{E995E690-C2B5-473B-9783-0A938DFB589B}" type="presOf" srcId="{F719ECA3-3CE0-46D1-9FF4-9EE3D9D0A6DF}" destId="{A561CF7A-5999-4B30-8343-AC166968D64E}" srcOrd="0" destOrd="0" presId="urn:microsoft.com/office/officeart/2005/8/layout/vList2"/>
    <dgm:cxn modelId="{047ACDD1-0859-4831-9DA0-388AAFC94ADC}" type="presOf" srcId="{232B8A2F-60B3-4F3B-8958-40663FBB233D}" destId="{1880E9D0-A6DF-48ED-935E-F11C8E85D0BB}" srcOrd="0" destOrd="0" presId="urn:microsoft.com/office/officeart/2005/8/layout/vList2"/>
    <dgm:cxn modelId="{D3994ED4-3019-4769-8625-4E898DD1F7EA}" type="presOf" srcId="{D2917527-7086-4B85-A4D9-8FDA7C1764A4}" destId="{5F23565E-6737-4AFB-A68B-160EF0C2C51A}" srcOrd="0" destOrd="0" presId="urn:microsoft.com/office/officeart/2005/8/layout/vList2"/>
    <dgm:cxn modelId="{10526DF6-0126-4B05-9C9F-CB0C20C59002}" type="presOf" srcId="{928176D8-5C1A-424A-AFA9-1DBF83F06279}" destId="{8EA39431-ABE3-4904-9FF6-A2943CCFCA90}" srcOrd="0" destOrd="0" presId="urn:microsoft.com/office/officeart/2005/8/layout/vList2"/>
    <dgm:cxn modelId="{694784C6-D96F-4E4A-B718-07409C604714}" type="presParOf" srcId="{A561CF7A-5999-4B30-8343-AC166968D64E}" destId="{5F23565E-6737-4AFB-A68B-160EF0C2C51A}" srcOrd="0" destOrd="0" presId="urn:microsoft.com/office/officeart/2005/8/layout/vList2"/>
    <dgm:cxn modelId="{8B4376E4-2439-4313-8CAB-10F2D7B0EA2E}" type="presParOf" srcId="{A561CF7A-5999-4B30-8343-AC166968D64E}" destId="{3767CD8B-734E-41C7-AE3E-EC57CA5918CF}" srcOrd="1" destOrd="0" presId="urn:microsoft.com/office/officeart/2005/8/layout/vList2"/>
    <dgm:cxn modelId="{DEF6B6ED-0B41-4554-9B9C-A414E35D699E}" type="presParOf" srcId="{A561CF7A-5999-4B30-8343-AC166968D64E}" destId="{1880E9D0-A6DF-48ED-935E-F11C8E85D0BB}" srcOrd="2" destOrd="0" presId="urn:microsoft.com/office/officeart/2005/8/layout/vList2"/>
    <dgm:cxn modelId="{C95B5924-5BEE-4CD9-87E3-D0C264F36DFE}" type="presParOf" srcId="{A561CF7A-5999-4B30-8343-AC166968D64E}" destId="{56F7D4CC-6AE4-42FC-A1AE-0AFC347F1122}" srcOrd="3" destOrd="0" presId="urn:microsoft.com/office/officeart/2005/8/layout/vList2"/>
    <dgm:cxn modelId="{726EDD38-2899-4E82-B5D1-06A52294B7D7}" type="presParOf" srcId="{A561CF7A-5999-4B30-8343-AC166968D64E}" destId="{DEA7FF67-A53D-40E2-8100-834C5595951E}" srcOrd="4" destOrd="0" presId="urn:microsoft.com/office/officeart/2005/8/layout/vList2"/>
    <dgm:cxn modelId="{9340B64A-5177-4158-8C63-34F4B7450E44}" type="presParOf" srcId="{A561CF7A-5999-4B30-8343-AC166968D64E}" destId="{CDC8510A-AB56-425A-A2CA-7584493FB67E}" srcOrd="5" destOrd="0" presId="urn:microsoft.com/office/officeart/2005/8/layout/vList2"/>
    <dgm:cxn modelId="{0D32B661-4AAB-4BC5-AE43-1A6FE9D84496}" type="presParOf" srcId="{A561CF7A-5999-4B30-8343-AC166968D64E}" destId="{8EA39431-ABE3-4904-9FF6-A2943CCFCA90}" srcOrd="6"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10FF6C0-E6CD-4147-838D-4B599EEE10A8}" type="doc">
      <dgm:prSet loTypeId="urn:microsoft.com/office/officeart/2005/8/layout/hList1" loCatId="list" qsTypeId="urn:microsoft.com/office/officeart/2005/8/quickstyle/simple4" qsCatId="simple" csTypeId="urn:microsoft.com/office/officeart/2005/8/colors/accent2_2" csCatId="accent2" phldr="1"/>
      <dgm:spPr/>
      <dgm:t>
        <a:bodyPr/>
        <a:lstStyle/>
        <a:p>
          <a:endParaRPr lang="en-US"/>
        </a:p>
      </dgm:t>
    </dgm:pt>
    <dgm:pt modelId="{BF6FB160-B554-4F55-84C6-4B8AC1EB349C}">
      <dgm:prSet/>
      <dgm:spPr/>
      <dgm:t>
        <a:bodyPr/>
        <a:lstStyle/>
        <a:p>
          <a:r>
            <a:rPr lang="en-US"/>
            <a:t>Clustered Indexes</a:t>
          </a:r>
        </a:p>
      </dgm:t>
    </dgm:pt>
    <dgm:pt modelId="{A3BA0989-2CB0-43C3-B412-54D7EBAC6E6E}" type="parTrans" cxnId="{6EC5EDDD-DC00-49D4-AB5E-AECEFC973CBA}">
      <dgm:prSet/>
      <dgm:spPr/>
      <dgm:t>
        <a:bodyPr/>
        <a:lstStyle/>
        <a:p>
          <a:endParaRPr lang="en-US"/>
        </a:p>
      </dgm:t>
    </dgm:pt>
    <dgm:pt modelId="{3B6D2E0E-8028-4D40-AA1A-92925093C7DA}" type="sibTrans" cxnId="{6EC5EDDD-DC00-49D4-AB5E-AECEFC973CBA}">
      <dgm:prSet/>
      <dgm:spPr/>
      <dgm:t>
        <a:bodyPr/>
        <a:lstStyle/>
        <a:p>
          <a:endParaRPr lang="en-US"/>
        </a:p>
      </dgm:t>
    </dgm:pt>
    <dgm:pt modelId="{D32ECA96-70EF-4871-9F06-DC288D98D39B}">
      <dgm:prSet/>
      <dgm:spPr/>
      <dgm:t>
        <a:bodyPr/>
        <a:lstStyle/>
        <a:p>
          <a:r>
            <a:rPr lang="en-US"/>
            <a:t>Leaf level has data rows stored with index.</a:t>
          </a:r>
        </a:p>
      </dgm:t>
    </dgm:pt>
    <dgm:pt modelId="{53F4D5DB-F64A-43A7-A560-E23C5C9CD81B}" type="parTrans" cxnId="{4212C62D-0279-421F-97DB-E397499DDD23}">
      <dgm:prSet/>
      <dgm:spPr/>
      <dgm:t>
        <a:bodyPr/>
        <a:lstStyle/>
        <a:p>
          <a:endParaRPr lang="en-US"/>
        </a:p>
      </dgm:t>
    </dgm:pt>
    <dgm:pt modelId="{812532DA-2325-42E9-80C9-AFDC1165BC69}" type="sibTrans" cxnId="{4212C62D-0279-421F-97DB-E397499DDD23}">
      <dgm:prSet/>
      <dgm:spPr/>
      <dgm:t>
        <a:bodyPr/>
        <a:lstStyle/>
        <a:p>
          <a:endParaRPr lang="en-US"/>
        </a:p>
      </dgm:t>
    </dgm:pt>
    <dgm:pt modelId="{821D27D6-E6BB-489A-AA34-05A29A2B55D8}">
      <dgm:prSet/>
      <dgm:spPr/>
      <dgm:t>
        <a:bodyPr/>
        <a:lstStyle/>
        <a:p>
          <a:r>
            <a:rPr lang="en-US"/>
            <a:t>Non-clustered Indexes</a:t>
          </a:r>
        </a:p>
      </dgm:t>
    </dgm:pt>
    <dgm:pt modelId="{77792C74-34E3-4F61-B7A9-66B3A3504BA8}" type="parTrans" cxnId="{30B55308-A7E8-4A83-B5B3-457CD508B125}">
      <dgm:prSet/>
      <dgm:spPr/>
      <dgm:t>
        <a:bodyPr/>
        <a:lstStyle/>
        <a:p>
          <a:endParaRPr lang="en-US"/>
        </a:p>
      </dgm:t>
    </dgm:pt>
    <dgm:pt modelId="{D0AD591B-0571-474B-AB70-6C560A1A821C}" type="sibTrans" cxnId="{30B55308-A7E8-4A83-B5B3-457CD508B125}">
      <dgm:prSet/>
      <dgm:spPr/>
      <dgm:t>
        <a:bodyPr/>
        <a:lstStyle/>
        <a:p>
          <a:endParaRPr lang="en-US"/>
        </a:p>
      </dgm:t>
    </dgm:pt>
    <dgm:pt modelId="{C90E9F2A-0519-4F10-9FEE-DE7D11592927}">
      <dgm:prSet/>
      <dgm:spPr/>
      <dgm:t>
        <a:bodyPr/>
        <a:lstStyle/>
        <a:p>
          <a:r>
            <a:rPr lang="en-US" dirty="0"/>
            <a:t>Separate structure from base table.</a:t>
          </a:r>
        </a:p>
      </dgm:t>
    </dgm:pt>
    <dgm:pt modelId="{34FE8762-E01B-46D0-87C2-9D2226FA0881}" type="parTrans" cxnId="{C0AA77FE-9770-4B0B-A76C-67BCE587CF00}">
      <dgm:prSet/>
      <dgm:spPr/>
      <dgm:t>
        <a:bodyPr/>
        <a:lstStyle/>
        <a:p>
          <a:endParaRPr lang="en-US"/>
        </a:p>
      </dgm:t>
    </dgm:pt>
    <dgm:pt modelId="{2C2629FF-47F9-45E8-85E6-17D354302656}" type="sibTrans" cxnId="{C0AA77FE-9770-4B0B-A76C-67BCE587CF00}">
      <dgm:prSet/>
      <dgm:spPr/>
      <dgm:t>
        <a:bodyPr/>
        <a:lstStyle/>
        <a:p>
          <a:endParaRPr lang="en-US"/>
        </a:p>
      </dgm:t>
    </dgm:pt>
    <dgm:pt modelId="{EFBC3BA4-BA6A-47A9-9AD7-EB80D928D2A1}">
      <dgm:prSet/>
      <dgm:spPr/>
      <dgm:t>
        <a:bodyPr/>
        <a:lstStyle/>
        <a:p>
          <a:r>
            <a:rPr lang="en-US"/>
            <a:t>Contains a pointer </a:t>
          </a:r>
          <a:r>
            <a:rPr lang="en-US" u="none"/>
            <a:t>back to base table called:</a:t>
          </a:r>
          <a:endParaRPr lang="en-US"/>
        </a:p>
      </dgm:t>
    </dgm:pt>
    <dgm:pt modelId="{99EE8FB9-E488-4179-86E8-D2B27FA4F871}" type="parTrans" cxnId="{5B95C044-DD02-440C-AACC-7607D0128C6E}">
      <dgm:prSet/>
      <dgm:spPr/>
      <dgm:t>
        <a:bodyPr/>
        <a:lstStyle/>
        <a:p>
          <a:endParaRPr lang="en-US"/>
        </a:p>
      </dgm:t>
    </dgm:pt>
    <dgm:pt modelId="{031357DF-52E1-4857-813E-69862D5B3931}" type="sibTrans" cxnId="{5B95C044-DD02-440C-AACC-7607D0128C6E}">
      <dgm:prSet/>
      <dgm:spPr/>
      <dgm:t>
        <a:bodyPr/>
        <a:lstStyle/>
        <a:p>
          <a:endParaRPr lang="en-US"/>
        </a:p>
      </dgm:t>
    </dgm:pt>
    <dgm:pt modelId="{EA0039EC-765D-47A6-A454-EB79FFB7D6D0}">
      <dgm:prSet/>
      <dgm:spPr/>
      <dgm:t>
        <a:bodyPr/>
        <a:lstStyle/>
        <a:p>
          <a:r>
            <a:rPr lang="en-US"/>
            <a:t>“Skinny” data structure as it contains a  subset of base table only.</a:t>
          </a:r>
        </a:p>
      </dgm:t>
    </dgm:pt>
    <dgm:pt modelId="{B2BA17B9-EB15-4C17-A522-BA46BE165620}" type="parTrans" cxnId="{541E130A-5DC0-47EB-988D-897020EF6CA5}">
      <dgm:prSet/>
      <dgm:spPr/>
      <dgm:t>
        <a:bodyPr/>
        <a:lstStyle/>
        <a:p>
          <a:endParaRPr lang="en-US"/>
        </a:p>
      </dgm:t>
    </dgm:pt>
    <dgm:pt modelId="{FF337856-94F4-49CB-B152-304486D57661}" type="sibTrans" cxnId="{541E130A-5DC0-47EB-988D-897020EF6CA5}">
      <dgm:prSet/>
      <dgm:spPr/>
      <dgm:t>
        <a:bodyPr/>
        <a:lstStyle/>
        <a:p>
          <a:endParaRPr lang="en-US"/>
        </a:p>
      </dgm:t>
    </dgm:pt>
    <dgm:pt modelId="{4800BCFF-DE1E-40E2-BE2D-215CB5F3C3F8}">
      <dgm:prSet/>
      <dgm:spPr/>
      <dgm:t>
        <a:bodyPr/>
        <a:lstStyle/>
        <a:p>
          <a:r>
            <a:rPr lang="en-US"/>
            <a:t>To by-pass index key limits (1,700 bytes) ,non-key columns can be added to leaf level. </a:t>
          </a:r>
        </a:p>
      </dgm:t>
    </dgm:pt>
    <dgm:pt modelId="{CF852995-1682-4F08-B1E8-297340B2FA48}" type="parTrans" cxnId="{8EB90479-821A-4DCB-83A6-3F897A18BEA6}">
      <dgm:prSet/>
      <dgm:spPr/>
      <dgm:t>
        <a:bodyPr/>
        <a:lstStyle/>
        <a:p>
          <a:endParaRPr lang="en-US"/>
        </a:p>
      </dgm:t>
    </dgm:pt>
    <dgm:pt modelId="{D2D83A8B-CCCA-42D5-8894-226969206E1B}" type="sibTrans" cxnId="{8EB90479-821A-4DCB-83A6-3F897A18BEA6}">
      <dgm:prSet/>
      <dgm:spPr/>
      <dgm:t>
        <a:bodyPr/>
        <a:lstStyle/>
        <a:p>
          <a:endParaRPr lang="en-US"/>
        </a:p>
      </dgm:t>
    </dgm:pt>
    <dgm:pt modelId="{1EB32244-5DD4-4097-913E-BE6EA4FDFBEC}">
      <dgm:prSet/>
      <dgm:spPr/>
      <dgm:t>
        <a:bodyPr/>
        <a:lstStyle/>
        <a:p>
          <a:r>
            <a:rPr lang="en-US"/>
            <a:t>As Leaf level contains fewer columns than base table, the non-clustered index uses fewer pages than the corresponding base table.</a:t>
          </a:r>
          <a:endParaRPr lang="en-US" u="none"/>
        </a:p>
      </dgm:t>
    </dgm:pt>
    <dgm:pt modelId="{5197F012-9E05-4591-814A-1D512E9B295D}" type="parTrans" cxnId="{EE3558EA-E792-4CAF-9B4F-B5AD78A78562}">
      <dgm:prSet/>
      <dgm:spPr/>
      <dgm:t>
        <a:bodyPr/>
        <a:lstStyle/>
        <a:p>
          <a:endParaRPr lang="en-US"/>
        </a:p>
      </dgm:t>
    </dgm:pt>
    <dgm:pt modelId="{00B5F050-D943-4B27-8835-49511C94F5A0}" type="sibTrans" cxnId="{EE3558EA-E792-4CAF-9B4F-B5AD78A78562}">
      <dgm:prSet/>
      <dgm:spPr/>
      <dgm:t>
        <a:bodyPr/>
        <a:lstStyle/>
        <a:p>
          <a:endParaRPr lang="en-US"/>
        </a:p>
      </dgm:t>
    </dgm:pt>
    <dgm:pt modelId="{27DB2621-D425-4E88-BA49-3BB127CFCFEB}">
      <dgm:prSet/>
      <dgm:spPr/>
      <dgm:t>
        <a:bodyPr/>
        <a:lstStyle/>
        <a:p>
          <a:r>
            <a:rPr lang="en-US" b="0" i="0" u="none" baseline="0">
              <a:solidFill>
                <a:schemeClr val="tx1"/>
              </a:solidFill>
              <a:effectLst/>
              <a:latin typeface="+mn-lt"/>
              <a:ea typeface="+mn-ea"/>
              <a:cs typeface="+mn-cs"/>
            </a:rPr>
            <a:t>Row ID (RID when base table is HEAP)</a:t>
          </a:r>
          <a:endParaRPr lang="en-US"/>
        </a:p>
      </dgm:t>
    </dgm:pt>
    <dgm:pt modelId="{A83B9BB3-1685-441B-ADA5-C317416068D4}" type="parTrans" cxnId="{BBFFA024-47EA-48BD-AB19-E93918860658}">
      <dgm:prSet/>
      <dgm:spPr/>
      <dgm:t>
        <a:bodyPr/>
        <a:lstStyle/>
        <a:p>
          <a:endParaRPr lang="en-US"/>
        </a:p>
      </dgm:t>
    </dgm:pt>
    <dgm:pt modelId="{0059C056-2D42-42E4-BA90-BA243E56B135}" type="sibTrans" cxnId="{BBFFA024-47EA-48BD-AB19-E93918860658}">
      <dgm:prSet/>
      <dgm:spPr/>
      <dgm:t>
        <a:bodyPr/>
        <a:lstStyle/>
        <a:p>
          <a:endParaRPr lang="en-US"/>
        </a:p>
      </dgm:t>
    </dgm:pt>
    <dgm:pt modelId="{A66791C9-FC66-4711-8CDA-46232279A7C8}">
      <dgm:prSet/>
      <dgm:spPr/>
      <dgm:t>
        <a:bodyPr/>
        <a:lstStyle/>
        <a:p>
          <a:r>
            <a:rPr lang="en-US" b="0" i="0" u="none" baseline="0" dirty="0">
              <a:solidFill>
                <a:schemeClr val="tx1"/>
              </a:solidFill>
              <a:effectLst/>
              <a:latin typeface="+mn-lt"/>
              <a:ea typeface="+mn-ea"/>
              <a:cs typeface="+mn-cs"/>
            </a:rPr>
            <a:t>Key      (KEY when base table is Clustered) </a:t>
          </a:r>
          <a:endParaRPr lang="en-US" dirty="0"/>
        </a:p>
      </dgm:t>
    </dgm:pt>
    <dgm:pt modelId="{15328F54-E02E-48CD-A9F1-726DFA784C7F}" type="parTrans" cxnId="{2F92AB8F-7B2B-4EEC-9D61-4DFC0E7BBC7B}">
      <dgm:prSet/>
      <dgm:spPr/>
      <dgm:t>
        <a:bodyPr/>
        <a:lstStyle/>
        <a:p>
          <a:endParaRPr lang="en-US"/>
        </a:p>
      </dgm:t>
    </dgm:pt>
    <dgm:pt modelId="{DEF56018-7012-4052-B80D-C5E6DE9682E5}" type="sibTrans" cxnId="{2F92AB8F-7B2B-4EEC-9D61-4DFC0E7BBC7B}">
      <dgm:prSet/>
      <dgm:spPr/>
      <dgm:t>
        <a:bodyPr/>
        <a:lstStyle/>
        <a:p>
          <a:endParaRPr lang="en-US"/>
        </a:p>
      </dgm:t>
    </dgm:pt>
    <dgm:pt modelId="{0E663FDF-FCC5-400F-8536-56677CA3DC90}">
      <dgm:prSet/>
      <dgm:spPr/>
      <dgm:t>
        <a:bodyPr/>
        <a:lstStyle/>
        <a:p>
          <a:r>
            <a:rPr lang="en-US" b="0" i="0"/>
            <a:t>Table data can be sorted in only one way.</a:t>
          </a:r>
          <a:endParaRPr lang="en-US" b="0"/>
        </a:p>
      </dgm:t>
    </dgm:pt>
    <dgm:pt modelId="{024ED45B-AD1F-47FC-B6D3-7C981BCA672E}" type="parTrans" cxnId="{B4EDB34E-7222-4E53-9FC6-499CE697EE04}">
      <dgm:prSet/>
      <dgm:spPr/>
      <dgm:t>
        <a:bodyPr/>
        <a:lstStyle/>
        <a:p>
          <a:endParaRPr lang="en-US"/>
        </a:p>
      </dgm:t>
    </dgm:pt>
    <dgm:pt modelId="{9A7F8172-4DFF-47D1-87FF-1522EA3D6E58}" type="sibTrans" cxnId="{B4EDB34E-7222-4E53-9FC6-499CE697EE04}">
      <dgm:prSet/>
      <dgm:spPr/>
      <dgm:t>
        <a:bodyPr/>
        <a:lstStyle/>
        <a:p>
          <a:endParaRPr lang="en-US"/>
        </a:p>
      </dgm:t>
    </dgm:pt>
    <dgm:pt modelId="{F7771B0A-A471-425B-8C85-8C71A49056D5}">
      <dgm:prSet/>
      <dgm:spPr/>
      <dgm:t>
        <a:bodyPr/>
        <a:lstStyle/>
        <a:p>
          <a:r>
            <a:rPr lang="en-US" b="0" i="0"/>
            <a:t>Defines the order in which data is physically stored in a table.</a:t>
          </a:r>
          <a:endParaRPr lang="en-US" b="0"/>
        </a:p>
      </dgm:t>
    </dgm:pt>
    <dgm:pt modelId="{9B7434A4-0698-4E6C-BA01-7D2E4AC6CEF7}" type="parTrans" cxnId="{3F823E84-819D-4421-9D15-136D2C199E92}">
      <dgm:prSet/>
      <dgm:spPr/>
      <dgm:t>
        <a:bodyPr/>
        <a:lstStyle/>
        <a:p>
          <a:endParaRPr lang="en-US"/>
        </a:p>
      </dgm:t>
    </dgm:pt>
    <dgm:pt modelId="{2034D030-38FF-488E-B085-1D9D6DF485E4}" type="sibTrans" cxnId="{3F823E84-819D-4421-9D15-136D2C199E92}">
      <dgm:prSet/>
      <dgm:spPr/>
      <dgm:t>
        <a:bodyPr/>
        <a:lstStyle/>
        <a:p>
          <a:endParaRPr lang="en-US"/>
        </a:p>
      </dgm:t>
    </dgm:pt>
    <dgm:pt modelId="{E9EA3D65-13F7-43C9-94E0-E8C0C3A64BD1}">
      <dgm:prSet/>
      <dgm:spPr/>
      <dgm:t>
        <a:bodyPr/>
        <a:lstStyle/>
        <a:p>
          <a:endParaRPr lang="en-US"/>
        </a:p>
      </dgm:t>
    </dgm:pt>
    <dgm:pt modelId="{FD5FD4D2-3B3E-4744-B0CC-AEC48A972A2D}" type="parTrans" cxnId="{8C14BB0E-7B9B-4AFE-A1CA-BB0B295CC032}">
      <dgm:prSet/>
      <dgm:spPr/>
      <dgm:t>
        <a:bodyPr/>
        <a:lstStyle/>
        <a:p>
          <a:endParaRPr lang="en-US"/>
        </a:p>
      </dgm:t>
    </dgm:pt>
    <dgm:pt modelId="{64CC3659-004C-4AB1-9920-BCFC314AF1F2}" type="sibTrans" cxnId="{8C14BB0E-7B9B-4AFE-A1CA-BB0B295CC032}">
      <dgm:prSet/>
      <dgm:spPr/>
      <dgm:t>
        <a:bodyPr/>
        <a:lstStyle/>
        <a:p>
          <a:endParaRPr lang="en-US"/>
        </a:p>
      </dgm:t>
    </dgm:pt>
    <dgm:pt modelId="{BA5D76D4-02AA-45C5-82C8-2A7CC7F34638}">
      <dgm:prSet/>
      <dgm:spPr/>
      <dgm:t>
        <a:bodyPr/>
        <a:lstStyle/>
        <a:p>
          <a:endParaRPr lang="en-US"/>
        </a:p>
      </dgm:t>
    </dgm:pt>
    <dgm:pt modelId="{ECC6B342-34F1-4070-BC1A-9D00B04043D6}" type="parTrans" cxnId="{5EDAD10D-CA15-44D9-8D6C-FB0909896A0E}">
      <dgm:prSet/>
      <dgm:spPr/>
      <dgm:t>
        <a:bodyPr/>
        <a:lstStyle/>
        <a:p>
          <a:endParaRPr lang="en-US"/>
        </a:p>
      </dgm:t>
    </dgm:pt>
    <dgm:pt modelId="{25FBFA35-2BDD-4AF5-AC71-8DFD9E9F1F4D}" type="sibTrans" cxnId="{5EDAD10D-CA15-44D9-8D6C-FB0909896A0E}">
      <dgm:prSet/>
      <dgm:spPr/>
      <dgm:t>
        <a:bodyPr/>
        <a:lstStyle/>
        <a:p>
          <a:endParaRPr lang="en-US"/>
        </a:p>
      </dgm:t>
    </dgm:pt>
    <dgm:pt modelId="{5CF47F27-3679-419D-8721-C569F6B20F60}">
      <dgm:prSet/>
      <dgm:spPr/>
      <dgm:t>
        <a:bodyPr/>
        <a:lstStyle/>
        <a:p>
          <a:r>
            <a:rPr lang="en-US" b="0" i="0"/>
            <a:t>When a table has a clustered index, the object is called  clustered table.</a:t>
          </a:r>
          <a:endParaRPr lang="en-US" b="0"/>
        </a:p>
      </dgm:t>
    </dgm:pt>
    <dgm:pt modelId="{D72F91F8-EB10-426E-B407-9CCA87548B8F}" type="parTrans" cxnId="{7CD02078-5802-4843-B1F3-8D3FD3C372D9}">
      <dgm:prSet/>
      <dgm:spPr/>
      <dgm:t>
        <a:bodyPr/>
        <a:lstStyle/>
        <a:p>
          <a:endParaRPr lang="en-US"/>
        </a:p>
      </dgm:t>
    </dgm:pt>
    <dgm:pt modelId="{0C66922D-366B-4F6A-A995-2F051C0DE38B}" type="sibTrans" cxnId="{7CD02078-5802-4843-B1F3-8D3FD3C372D9}">
      <dgm:prSet/>
      <dgm:spPr/>
      <dgm:t>
        <a:bodyPr/>
        <a:lstStyle/>
        <a:p>
          <a:endParaRPr lang="en-US"/>
        </a:p>
      </dgm:t>
    </dgm:pt>
    <dgm:pt modelId="{E1556876-62DA-438E-9D58-422625E8657D}">
      <dgm:prSet/>
      <dgm:spPr/>
      <dgm:t>
        <a:bodyPr/>
        <a:lstStyle/>
        <a:p>
          <a:r>
            <a:rPr lang="en-US" b="0" dirty="0"/>
            <a:t>Cluster key is added to nonclustered index (as the pointer), keep it as narrow as possible.</a:t>
          </a:r>
        </a:p>
      </dgm:t>
    </dgm:pt>
    <dgm:pt modelId="{FCBFA3D6-7861-4C91-A9B0-B84A1E796A4D}" type="parTrans" cxnId="{BD1424FE-D58B-4B35-927A-CA3D54A7735A}">
      <dgm:prSet/>
      <dgm:spPr/>
      <dgm:t>
        <a:bodyPr/>
        <a:lstStyle/>
        <a:p>
          <a:endParaRPr lang="en-US"/>
        </a:p>
      </dgm:t>
    </dgm:pt>
    <dgm:pt modelId="{ED27DD5F-0B4D-467D-97DD-D25A945B244B}" type="sibTrans" cxnId="{BD1424FE-D58B-4B35-927A-CA3D54A7735A}">
      <dgm:prSet/>
      <dgm:spPr/>
      <dgm:t>
        <a:bodyPr/>
        <a:lstStyle/>
        <a:p>
          <a:endParaRPr lang="en-US"/>
        </a:p>
      </dgm:t>
    </dgm:pt>
    <dgm:pt modelId="{E3FF5D38-2B12-4344-89E3-652AD42CB81F}" type="pres">
      <dgm:prSet presAssocID="{D10FF6C0-E6CD-4147-838D-4B599EEE10A8}" presName="Name0" presStyleCnt="0">
        <dgm:presLayoutVars>
          <dgm:dir/>
          <dgm:animLvl val="lvl"/>
          <dgm:resizeHandles val="exact"/>
        </dgm:presLayoutVars>
      </dgm:prSet>
      <dgm:spPr/>
    </dgm:pt>
    <dgm:pt modelId="{D63B66D1-449F-4EE0-BC5B-D91F032124EE}" type="pres">
      <dgm:prSet presAssocID="{BF6FB160-B554-4F55-84C6-4B8AC1EB349C}" presName="composite" presStyleCnt="0"/>
      <dgm:spPr/>
    </dgm:pt>
    <dgm:pt modelId="{27C439F0-7215-4388-B78F-C5F398B5D290}" type="pres">
      <dgm:prSet presAssocID="{BF6FB160-B554-4F55-84C6-4B8AC1EB349C}" presName="parTx" presStyleLbl="alignNode1" presStyleIdx="0" presStyleCnt="2">
        <dgm:presLayoutVars>
          <dgm:chMax val="0"/>
          <dgm:chPref val="0"/>
          <dgm:bulletEnabled val="1"/>
        </dgm:presLayoutVars>
      </dgm:prSet>
      <dgm:spPr/>
    </dgm:pt>
    <dgm:pt modelId="{102F57DD-4402-4CEA-A704-3545DC2EB6F3}" type="pres">
      <dgm:prSet presAssocID="{BF6FB160-B554-4F55-84C6-4B8AC1EB349C}" presName="desTx" presStyleLbl="alignAccFollowNode1" presStyleIdx="0" presStyleCnt="2">
        <dgm:presLayoutVars>
          <dgm:bulletEnabled val="1"/>
        </dgm:presLayoutVars>
      </dgm:prSet>
      <dgm:spPr/>
    </dgm:pt>
    <dgm:pt modelId="{901814B1-F2E9-4E23-83D8-7D0761154BB6}" type="pres">
      <dgm:prSet presAssocID="{3B6D2E0E-8028-4D40-AA1A-92925093C7DA}" presName="space" presStyleCnt="0"/>
      <dgm:spPr/>
    </dgm:pt>
    <dgm:pt modelId="{F4334440-8596-41ED-9E04-6ACCF9BBCCC9}" type="pres">
      <dgm:prSet presAssocID="{821D27D6-E6BB-489A-AA34-05A29A2B55D8}" presName="composite" presStyleCnt="0"/>
      <dgm:spPr/>
    </dgm:pt>
    <dgm:pt modelId="{FD968328-EE6F-4043-BA69-78A68911ABDE}" type="pres">
      <dgm:prSet presAssocID="{821D27D6-E6BB-489A-AA34-05A29A2B55D8}" presName="parTx" presStyleLbl="alignNode1" presStyleIdx="1" presStyleCnt="2">
        <dgm:presLayoutVars>
          <dgm:chMax val="0"/>
          <dgm:chPref val="0"/>
          <dgm:bulletEnabled val="1"/>
        </dgm:presLayoutVars>
      </dgm:prSet>
      <dgm:spPr/>
    </dgm:pt>
    <dgm:pt modelId="{ACCD3EC9-0615-499C-AF32-B696CB14CF75}" type="pres">
      <dgm:prSet presAssocID="{821D27D6-E6BB-489A-AA34-05A29A2B55D8}" presName="desTx" presStyleLbl="alignAccFollowNode1" presStyleIdx="1" presStyleCnt="2">
        <dgm:presLayoutVars>
          <dgm:bulletEnabled val="1"/>
        </dgm:presLayoutVars>
      </dgm:prSet>
      <dgm:spPr/>
    </dgm:pt>
  </dgm:ptLst>
  <dgm:cxnLst>
    <dgm:cxn modelId="{30B55308-A7E8-4A83-B5B3-457CD508B125}" srcId="{D10FF6C0-E6CD-4147-838D-4B599EEE10A8}" destId="{821D27D6-E6BB-489A-AA34-05A29A2B55D8}" srcOrd="1" destOrd="0" parTransId="{77792C74-34E3-4F61-B7A9-66B3A3504BA8}" sibTransId="{D0AD591B-0571-474B-AB70-6C560A1A821C}"/>
    <dgm:cxn modelId="{541E130A-5DC0-47EB-988D-897020EF6CA5}" srcId="{821D27D6-E6BB-489A-AA34-05A29A2B55D8}" destId="{EA0039EC-765D-47A6-A454-EB79FFB7D6D0}" srcOrd="2" destOrd="0" parTransId="{B2BA17B9-EB15-4C17-A522-BA46BE165620}" sibTransId="{FF337856-94F4-49CB-B152-304486D57661}"/>
    <dgm:cxn modelId="{5EDAD10D-CA15-44D9-8D6C-FB0909896A0E}" srcId="{BF6FB160-B554-4F55-84C6-4B8AC1EB349C}" destId="{BA5D76D4-02AA-45C5-82C8-2A7CC7F34638}" srcOrd="5" destOrd="0" parTransId="{ECC6B342-34F1-4070-BC1A-9D00B04043D6}" sibTransId="{25FBFA35-2BDD-4AF5-AC71-8DFD9E9F1F4D}"/>
    <dgm:cxn modelId="{8C14BB0E-7B9B-4AFE-A1CA-BB0B295CC032}" srcId="{BF6FB160-B554-4F55-84C6-4B8AC1EB349C}" destId="{E9EA3D65-13F7-43C9-94E0-E8C0C3A64BD1}" srcOrd="6" destOrd="0" parTransId="{FD5FD4D2-3B3E-4744-B0CC-AEC48A972A2D}" sibTransId="{64CC3659-004C-4AB1-9920-BCFC314AF1F2}"/>
    <dgm:cxn modelId="{EA555F18-9BAC-4FC9-83E7-C15401B7EA22}" type="presOf" srcId="{27DB2621-D425-4E88-BA49-3BB127CFCFEB}" destId="{ACCD3EC9-0615-499C-AF32-B696CB14CF75}" srcOrd="0" destOrd="2" presId="urn:microsoft.com/office/officeart/2005/8/layout/hList1"/>
    <dgm:cxn modelId="{BBFFA024-47EA-48BD-AB19-E93918860658}" srcId="{EFBC3BA4-BA6A-47A9-9AD7-EB80D928D2A1}" destId="{27DB2621-D425-4E88-BA49-3BB127CFCFEB}" srcOrd="0" destOrd="0" parTransId="{A83B9BB3-1685-441B-ADA5-C317416068D4}" sibTransId="{0059C056-2D42-42E4-BA90-BA243E56B135}"/>
    <dgm:cxn modelId="{4212C62D-0279-421F-97DB-E397499DDD23}" srcId="{BF6FB160-B554-4F55-84C6-4B8AC1EB349C}" destId="{D32ECA96-70EF-4871-9F06-DC288D98D39B}" srcOrd="2" destOrd="0" parTransId="{53F4D5DB-F64A-43A7-A560-E23C5C9CD81B}" sibTransId="{812532DA-2325-42E9-80C9-AFDC1165BC69}"/>
    <dgm:cxn modelId="{6A075E36-61EF-4A51-93BE-33DAE4678425}" type="presOf" srcId="{5CF47F27-3679-419D-8721-C569F6B20F60}" destId="{102F57DD-4402-4CEA-A704-3545DC2EB6F3}" srcOrd="0" destOrd="3" presId="urn:microsoft.com/office/officeart/2005/8/layout/hList1"/>
    <dgm:cxn modelId="{5B95C044-DD02-440C-AACC-7607D0128C6E}" srcId="{821D27D6-E6BB-489A-AA34-05A29A2B55D8}" destId="{EFBC3BA4-BA6A-47A9-9AD7-EB80D928D2A1}" srcOrd="1" destOrd="0" parTransId="{99EE8FB9-E488-4179-86E8-D2B27FA4F871}" sibTransId="{031357DF-52E1-4857-813E-69862D5B3931}"/>
    <dgm:cxn modelId="{B4EDB34E-7222-4E53-9FC6-499CE697EE04}" srcId="{BF6FB160-B554-4F55-84C6-4B8AC1EB349C}" destId="{0E663FDF-FCC5-400F-8536-56677CA3DC90}" srcOrd="1" destOrd="0" parTransId="{024ED45B-AD1F-47FC-B6D3-7C981BCA672E}" sibTransId="{9A7F8172-4DFF-47D1-87FF-1522EA3D6E58}"/>
    <dgm:cxn modelId="{046F3870-01A8-4227-B9B3-5F9E2B38A265}" type="presOf" srcId="{EA0039EC-765D-47A6-A454-EB79FFB7D6D0}" destId="{ACCD3EC9-0615-499C-AF32-B696CB14CF75}" srcOrd="0" destOrd="4" presId="urn:microsoft.com/office/officeart/2005/8/layout/hList1"/>
    <dgm:cxn modelId="{3FB30576-0F41-4091-87F4-DEA90F39ED31}" type="presOf" srcId="{E9EA3D65-13F7-43C9-94E0-E8C0C3A64BD1}" destId="{102F57DD-4402-4CEA-A704-3545DC2EB6F3}" srcOrd="0" destOrd="6" presId="urn:microsoft.com/office/officeart/2005/8/layout/hList1"/>
    <dgm:cxn modelId="{7CD02078-5802-4843-B1F3-8D3FD3C372D9}" srcId="{BF6FB160-B554-4F55-84C6-4B8AC1EB349C}" destId="{5CF47F27-3679-419D-8721-C569F6B20F60}" srcOrd="3" destOrd="0" parTransId="{D72F91F8-EB10-426E-B407-9CCA87548B8F}" sibTransId="{0C66922D-366B-4F6A-A995-2F051C0DE38B}"/>
    <dgm:cxn modelId="{8EB90479-821A-4DCB-83A6-3F897A18BEA6}" srcId="{821D27D6-E6BB-489A-AA34-05A29A2B55D8}" destId="{4800BCFF-DE1E-40E2-BE2D-215CB5F3C3F8}" srcOrd="3" destOrd="0" parTransId="{CF852995-1682-4F08-B1E8-297340B2FA48}" sibTransId="{D2D83A8B-CCCA-42D5-8894-226969206E1B}"/>
    <dgm:cxn modelId="{B7A73279-F2C7-4745-9C16-330A686B4FF7}" type="presOf" srcId="{D10FF6C0-E6CD-4147-838D-4B599EEE10A8}" destId="{E3FF5D38-2B12-4344-89E3-652AD42CB81F}" srcOrd="0" destOrd="0" presId="urn:microsoft.com/office/officeart/2005/8/layout/hList1"/>
    <dgm:cxn modelId="{3F823E84-819D-4421-9D15-136D2C199E92}" srcId="{BF6FB160-B554-4F55-84C6-4B8AC1EB349C}" destId="{F7771B0A-A471-425B-8C85-8C71A49056D5}" srcOrd="0" destOrd="0" parTransId="{9B7434A4-0698-4E6C-BA01-7D2E4AC6CEF7}" sibTransId="{2034D030-38FF-488E-B085-1D9D6DF485E4}"/>
    <dgm:cxn modelId="{5DEB9086-CFB4-4FF9-84DE-5CA477AB47F0}" type="presOf" srcId="{4800BCFF-DE1E-40E2-BE2D-215CB5F3C3F8}" destId="{ACCD3EC9-0615-499C-AF32-B696CB14CF75}" srcOrd="0" destOrd="5" presId="urn:microsoft.com/office/officeart/2005/8/layout/hList1"/>
    <dgm:cxn modelId="{2F92AB8F-7B2B-4EEC-9D61-4DFC0E7BBC7B}" srcId="{EFBC3BA4-BA6A-47A9-9AD7-EB80D928D2A1}" destId="{A66791C9-FC66-4711-8CDA-46232279A7C8}" srcOrd="1" destOrd="0" parTransId="{15328F54-E02E-48CD-A9F1-726DFA784C7F}" sibTransId="{DEF56018-7012-4052-B80D-C5E6DE9682E5}"/>
    <dgm:cxn modelId="{2E813894-E7ED-4282-884A-6876ABD8A48C}" type="presOf" srcId="{BF6FB160-B554-4F55-84C6-4B8AC1EB349C}" destId="{27C439F0-7215-4388-B78F-C5F398B5D290}" srcOrd="0" destOrd="0" presId="urn:microsoft.com/office/officeart/2005/8/layout/hList1"/>
    <dgm:cxn modelId="{75381AA5-AAB4-43D9-8AFF-0E2A466BF285}" type="presOf" srcId="{E1556876-62DA-438E-9D58-422625E8657D}" destId="{102F57DD-4402-4CEA-A704-3545DC2EB6F3}" srcOrd="0" destOrd="4" presId="urn:microsoft.com/office/officeart/2005/8/layout/hList1"/>
    <dgm:cxn modelId="{08813FAE-5E94-45BE-A441-B7FA39CABF3A}" type="presOf" srcId="{0E663FDF-FCC5-400F-8536-56677CA3DC90}" destId="{102F57DD-4402-4CEA-A704-3545DC2EB6F3}" srcOrd="0" destOrd="1" presId="urn:microsoft.com/office/officeart/2005/8/layout/hList1"/>
    <dgm:cxn modelId="{F285ECB3-D5A3-4FC9-AA62-A33C8D589ED1}" type="presOf" srcId="{C90E9F2A-0519-4F10-9FEE-DE7D11592927}" destId="{ACCD3EC9-0615-499C-AF32-B696CB14CF75}" srcOrd="0" destOrd="0" presId="urn:microsoft.com/office/officeart/2005/8/layout/hList1"/>
    <dgm:cxn modelId="{1823E9B4-0833-4684-8D0A-D74A0500D3F0}" type="presOf" srcId="{D32ECA96-70EF-4871-9F06-DC288D98D39B}" destId="{102F57DD-4402-4CEA-A704-3545DC2EB6F3}" srcOrd="0" destOrd="2" presId="urn:microsoft.com/office/officeart/2005/8/layout/hList1"/>
    <dgm:cxn modelId="{E686ABBB-219C-48C1-AC88-EFD1853F14CB}" type="presOf" srcId="{BA5D76D4-02AA-45C5-82C8-2A7CC7F34638}" destId="{102F57DD-4402-4CEA-A704-3545DC2EB6F3}" srcOrd="0" destOrd="5" presId="urn:microsoft.com/office/officeart/2005/8/layout/hList1"/>
    <dgm:cxn modelId="{1BA620C5-A907-44E9-94E8-1D72E9E9C39C}" type="presOf" srcId="{EFBC3BA4-BA6A-47A9-9AD7-EB80D928D2A1}" destId="{ACCD3EC9-0615-499C-AF32-B696CB14CF75}" srcOrd="0" destOrd="1" presId="urn:microsoft.com/office/officeart/2005/8/layout/hList1"/>
    <dgm:cxn modelId="{68DA91D2-EB24-4E25-8928-3D050A9A8336}" type="presOf" srcId="{1EB32244-5DD4-4097-913E-BE6EA4FDFBEC}" destId="{ACCD3EC9-0615-499C-AF32-B696CB14CF75}" srcOrd="0" destOrd="6" presId="urn:microsoft.com/office/officeart/2005/8/layout/hList1"/>
    <dgm:cxn modelId="{393648DB-F255-4D53-873F-D68D101B5FBF}" type="presOf" srcId="{821D27D6-E6BB-489A-AA34-05A29A2B55D8}" destId="{FD968328-EE6F-4043-BA69-78A68911ABDE}" srcOrd="0" destOrd="0" presId="urn:microsoft.com/office/officeart/2005/8/layout/hList1"/>
    <dgm:cxn modelId="{6EC5EDDD-DC00-49D4-AB5E-AECEFC973CBA}" srcId="{D10FF6C0-E6CD-4147-838D-4B599EEE10A8}" destId="{BF6FB160-B554-4F55-84C6-4B8AC1EB349C}" srcOrd="0" destOrd="0" parTransId="{A3BA0989-2CB0-43C3-B412-54D7EBAC6E6E}" sibTransId="{3B6D2E0E-8028-4D40-AA1A-92925093C7DA}"/>
    <dgm:cxn modelId="{E05C72E6-4055-4E01-AEEA-A8C58E3D0BDB}" type="presOf" srcId="{A66791C9-FC66-4711-8CDA-46232279A7C8}" destId="{ACCD3EC9-0615-499C-AF32-B696CB14CF75}" srcOrd="0" destOrd="3" presId="urn:microsoft.com/office/officeart/2005/8/layout/hList1"/>
    <dgm:cxn modelId="{EE3558EA-E792-4CAF-9B4F-B5AD78A78562}" srcId="{821D27D6-E6BB-489A-AA34-05A29A2B55D8}" destId="{1EB32244-5DD4-4097-913E-BE6EA4FDFBEC}" srcOrd="4" destOrd="0" parTransId="{5197F012-9E05-4591-814A-1D512E9B295D}" sibTransId="{00B5F050-D943-4B27-8835-49511C94F5A0}"/>
    <dgm:cxn modelId="{415A11FB-E2EB-4490-9DC8-E50191606457}" type="presOf" srcId="{F7771B0A-A471-425B-8C85-8C71A49056D5}" destId="{102F57DD-4402-4CEA-A704-3545DC2EB6F3}" srcOrd="0" destOrd="0" presId="urn:microsoft.com/office/officeart/2005/8/layout/hList1"/>
    <dgm:cxn modelId="{BD1424FE-D58B-4B35-927A-CA3D54A7735A}" srcId="{BF6FB160-B554-4F55-84C6-4B8AC1EB349C}" destId="{E1556876-62DA-438E-9D58-422625E8657D}" srcOrd="4" destOrd="0" parTransId="{FCBFA3D6-7861-4C91-A9B0-B84A1E796A4D}" sibTransId="{ED27DD5F-0B4D-467D-97DD-D25A945B244B}"/>
    <dgm:cxn modelId="{C0AA77FE-9770-4B0B-A76C-67BCE587CF00}" srcId="{821D27D6-E6BB-489A-AA34-05A29A2B55D8}" destId="{C90E9F2A-0519-4F10-9FEE-DE7D11592927}" srcOrd="0" destOrd="0" parTransId="{34FE8762-E01B-46D0-87C2-9D2226FA0881}" sibTransId="{2C2629FF-47F9-45E8-85E6-17D354302656}"/>
    <dgm:cxn modelId="{DBA154E0-8D07-4CA9-A728-2738E42A34A3}" type="presParOf" srcId="{E3FF5D38-2B12-4344-89E3-652AD42CB81F}" destId="{D63B66D1-449F-4EE0-BC5B-D91F032124EE}" srcOrd="0" destOrd="0" presId="urn:microsoft.com/office/officeart/2005/8/layout/hList1"/>
    <dgm:cxn modelId="{677005E3-3A50-44F7-B6F0-DD92720CE052}" type="presParOf" srcId="{D63B66D1-449F-4EE0-BC5B-D91F032124EE}" destId="{27C439F0-7215-4388-B78F-C5F398B5D290}" srcOrd="0" destOrd="0" presId="urn:microsoft.com/office/officeart/2005/8/layout/hList1"/>
    <dgm:cxn modelId="{CCB1CAA5-6168-485E-A425-79AFA813F012}" type="presParOf" srcId="{D63B66D1-449F-4EE0-BC5B-D91F032124EE}" destId="{102F57DD-4402-4CEA-A704-3545DC2EB6F3}" srcOrd="1" destOrd="0" presId="urn:microsoft.com/office/officeart/2005/8/layout/hList1"/>
    <dgm:cxn modelId="{7E4E5849-6325-48D2-8E09-251840518FE0}" type="presParOf" srcId="{E3FF5D38-2B12-4344-89E3-652AD42CB81F}" destId="{901814B1-F2E9-4E23-83D8-7D0761154BB6}" srcOrd="1" destOrd="0" presId="urn:microsoft.com/office/officeart/2005/8/layout/hList1"/>
    <dgm:cxn modelId="{FE902AAE-7EC0-4672-A197-88F537F4E2CB}" type="presParOf" srcId="{E3FF5D38-2B12-4344-89E3-652AD42CB81F}" destId="{F4334440-8596-41ED-9E04-6ACCF9BBCCC9}" srcOrd="2" destOrd="0" presId="urn:microsoft.com/office/officeart/2005/8/layout/hList1"/>
    <dgm:cxn modelId="{7BB70881-B593-4CB2-A4FD-B79156287101}" type="presParOf" srcId="{F4334440-8596-41ED-9E04-6ACCF9BBCCC9}" destId="{FD968328-EE6F-4043-BA69-78A68911ABDE}" srcOrd="0" destOrd="0" presId="urn:microsoft.com/office/officeart/2005/8/layout/hList1"/>
    <dgm:cxn modelId="{B93F947A-479C-402D-A2F0-8E7479A69BA1}" type="presParOf" srcId="{F4334440-8596-41ED-9E04-6ACCF9BBCCC9}" destId="{ACCD3EC9-0615-499C-AF32-B696CB14CF7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97489C6-77CC-402A-9B0B-3EE358A8A822}"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B5C026C-FC17-4C2A-A884-94BAE489BFF0}">
      <dgm:prSet custT="1"/>
      <dgm:spPr/>
      <dgm:t>
        <a:bodyPr/>
        <a:lstStyle/>
        <a:p>
          <a:r>
            <a:rPr lang="en-US" sz="2400" baseline="0" dirty="0"/>
            <a:t>Lookup effectively join the nonclustered index back to the clustered index or heap. </a:t>
          </a:r>
          <a:endParaRPr lang="en-US" sz="2400" dirty="0"/>
        </a:p>
      </dgm:t>
    </dgm:pt>
    <dgm:pt modelId="{157543C3-57F2-4E43-BCD7-DAE62D46E770}" type="parTrans" cxnId="{42EFE70B-8EE3-4817-B8C6-1A6D4C0F661A}">
      <dgm:prSet/>
      <dgm:spPr/>
      <dgm:t>
        <a:bodyPr/>
        <a:lstStyle/>
        <a:p>
          <a:endParaRPr lang="en-US"/>
        </a:p>
      </dgm:t>
    </dgm:pt>
    <dgm:pt modelId="{AAE7C47A-99D4-4FF6-9633-E45496D5629E}" type="sibTrans" cxnId="{42EFE70B-8EE3-4817-B8C6-1A6D4C0F661A}">
      <dgm:prSet/>
      <dgm:spPr/>
      <dgm:t>
        <a:bodyPr/>
        <a:lstStyle/>
        <a:p>
          <a:endParaRPr lang="en-US"/>
        </a:p>
      </dgm:t>
    </dgm:pt>
    <dgm:pt modelId="{216A8027-1B78-43F4-927C-A6E533DCDD3B}">
      <dgm:prSet/>
      <dgm:spPr/>
      <dgm:t>
        <a:bodyPr/>
        <a:lstStyle/>
        <a:p>
          <a:r>
            <a:rPr lang="en-US" baseline="0" dirty="0"/>
            <a:t>If table has clustered index, it is called </a:t>
          </a:r>
          <a:r>
            <a:rPr lang="en-US" b="1" baseline="0" dirty="0"/>
            <a:t>bookmark lookup</a:t>
          </a:r>
          <a:r>
            <a:rPr lang="en-US" baseline="0" dirty="0"/>
            <a:t> (or key lookup)</a:t>
          </a:r>
          <a:endParaRPr lang="en-US" dirty="0"/>
        </a:p>
      </dgm:t>
    </dgm:pt>
    <dgm:pt modelId="{45E78EE8-6BE0-4346-96BD-C5563AA8AC46}" type="parTrans" cxnId="{C6A9AE35-6F23-4674-AD1A-2AD838FF2988}">
      <dgm:prSet/>
      <dgm:spPr/>
      <dgm:t>
        <a:bodyPr/>
        <a:lstStyle/>
        <a:p>
          <a:endParaRPr lang="en-US"/>
        </a:p>
      </dgm:t>
    </dgm:pt>
    <dgm:pt modelId="{2A872085-4E6C-4539-8CCD-BF54B6F127DC}" type="sibTrans" cxnId="{C6A9AE35-6F23-4674-AD1A-2AD838FF2988}">
      <dgm:prSet/>
      <dgm:spPr/>
      <dgm:t>
        <a:bodyPr/>
        <a:lstStyle/>
        <a:p>
          <a:endParaRPr lang="en-US"/>
        </a:p>
      </dgm:t>
    </dgm:pt>
    <dgm:pt modelId="{6412C85D-169F-41F0-84BC-3F217AE37F59}">
      <dgm:prSet/>
      <dgm:spPr/>
      <dgm:t>
        <a:bodyPr/>
        <a:lstStyle/>
        <a:p>
          <a:r>
            <a:rPr lang="en-US" baseline="0" dirty="0"/>
            <a:t>If the table is a heap with a non-clustered index, it is called </a:t>
          </a:r>
          <a:r>
            <a:rPr lang="en-US" b="1" baseline="0" dirty="0"/>
            <a:t>RID lookup</a:t>
          </a:r>
          <a:endParaRPr lang="en-US" dirty="0"/>
        </a:p>
      </dgm:t>
    </dgm:pt>
    <dgm:pt modelId="{8A12F81A-B840-4724-A7A3-8A0A7D522D67}" type="parTrans" cxnId="{B2AC20F6-8D19-4255-AE15-AE762FABC830}">
      <dgm:prSet/>
      <dgm:spPr/>
      <dgm:t>
        <a:bodyPr/>
        <a:lstStyle/>
        <a:p>
          <a:endParaRPr lang="en-US"/>
        </a:p>
      </dgm:t>
    </dgm:pt>
    <dgm:pt modelId="{1F093F23-9255-4E4E-B5DC-7EF6939D2C2B}" type="sibTrans" cxnId="{B2AC20F6-8D19-4255-AE15-AE762FABC830}">
      <dgm:prSet/>
      <dgm:spPr/>
      <dgm:t>
        <a:bodyPr/>
        <a:lstStyle/>
        <a:p>
          <a:endParaRPr lang="en-US"/>
        </a:p>
      </dgm:t>
    </dgm:pt>
    <dgm:pt modelId="{183C13B0-2C92-4AC6-B069-548FBC21CA4E}">
      <dgm:prSet custT="1"/>
      <dgm:spPr/>
      <dgm:t>
        <a:bodyPr/>
        <a:lstStyle/>
        <a:p>
          <a:r>
            <a:rPr lang="en-US" sz="2400" baseline="0"/>
            <a:t>This is an expensive operation.</a:t>
          </a:r>
          <a:endParaRPr lang="en-US" sz="2400"/>
        </a:p>
      </dgm:t>
    </dgm:pt>
    <dgm:pt modelId="{D8539FB9-D647-4337-9EA7-9FB491AD0686}" type="parTrans" cxnId="{9F660B86-6FDB-4CE1-9662-6D5C07E8D55F}">
      <dgm:prSet/>
      <dgm:spPr/>
      <dgm:t>
        <a:bodyPr/>
        <a:lstStyle/>
        <a:p>
          <a:endParaRPr lang="en-US"/>
        </a:p>
      </dgm:t>
    </dgm:pt>
    <dgm:pt modelId="{71B8614D-06E7-43FC-B7B3-09F75004BF7C}" type="sibTrans" cxnId="{9F660B86-6FDB-4CE1-9662-6D5C07E8D55F}">
      <dgm:prSet/>
      <dgm:spPr/>
      <dgm:t>
        <a:bodyPr/>
        <a:lstStyle/>
        <a:p>
          <a:endParaRPr lang="en-US"/>
        </a:p>
      </dgm:t>
    </dgm:pt>
    <dgm:pt modelId="{95DE43BB-DDDE-4BB5-9E38-3C0A3AC96B50}" type="pres">
      <dgm:prSet presAssocID="{897489C6-77CC-402A-9B0B-3EE358A8A822}" presName="linear" presStyleCnt="0">
        <dgm:presLayoutVars>
          <dgm:animLvl val="lvl"/>
          <dgm:resizeHandles val="exact"/>
        </dgm:presLayoutVars>
      </dgm:prSet>
      <dgm:spPr/>
    </dgm:pt>
    <dgm:pt modelId="{06CA8411-A856-4535-A9DB-19352547C6DA}" type="pres">
      <dgm:prSet presAssocID="{1B5C026C-FC17-4C2A-A884-94BAE489BFF0}" presName="parentText" presStyleLbl="node1" presStyleIdx="0" presStyleCnt="2">
        <dgm:presLayoutVars>
          <dgm:chMax val="0"/>
          <dgm:bulletEnabled val="1"/>
        </dgm:presLayoutVars>
      </dgm:prSet>
      <dgm:spPr/>
    </dgm:pt>
    <dgm:pt modelId="{8BBA09E5-FE57-4951-B99F-2BDF89EC6551}" type="pres">
      <dgm:prSet presAssocID="{1B5C026C-FC17-4C2A-A884-94BAE489BFF0}" presName="childText" presStyleLbl="revTx" presStyleIdx="0" presStyleCnt="1">
        <dgm:presLayoutVars>
          <dgm:bulletEnabled val="1"/>
        </dgm:presLayoutVars>
      </dgm:prSet>
      <dgm:spPr/>
    </dgm:pt>
    <dgm:pt modelId="{1E056329-3A95-46B0-90C8-2B1FD0228165}" type="pres">
      <dgm:prSet presAssocID="{183C13B0-2C92-4AC6-B069-548FBC21CA4E}" presName="parentText" presStyleLbl="node1" presStyleIdx="1" presStyleCnt="2">
        <dgm:presLayoutVars>
          <dgm:chMax val="0"/>
          <dgm:bulletEnabled val="1"/>
        </dgm:presLayoutVars>
      </dgm:prSet>
      <dgm:spPr/>
    </dgm:pt>
  </dgm:ptLst>
  <dgm:cxnLst>
    <dgm:cxn modelId="{42EFE70B-8EE3-4817-B8C6-1A6D4C0F661A}" srcId="{897489C6-77CC-402A-9B0B-3EE358A8A822}" destId="{1B5C026C-FC17-4C2A-A884-94BAE489BFF0}" srcOrd="0" destOrd="0" parTransId="{157543C3-57F2-4E43-BCD7-DAE62D46E770}" sibTransId="{AAE7C47A-99D4-4FF6-9633-E45496D5629E}"/>
    <dgm:cxn modelId="{C6A9AE35-6F23-4674-AD1A-2AD838FF2988}" srcId="{1B5C026C-FC17-4C2A-A884-94BAE489BFF0}" destId="{216A8027-1B78-43F4-927C-A6E533DCDD3B}" srcOrd="0" destOrd="0" parTransId="{45E78EE8-6BE0-4346-96BD-C5563AA8AC46}" sibTransId="{2A872085-4E6C-4539-8CCD-BF54B6F127DC}"/>
    <dgm:cxn modelId="{724BAA45-0E46-4FB6-9EC2-09D1B05B3B75}" type="presOf" srcId="{1B5C026C-FC17-4C2A-A884-94BAE489BFF0}" destId="{06CA8411-A856-4535-A9DB-19352547C6DA}" srcOrd="0" destOrd="0" presId="urn:microsoft.com/office/officeart/2005/8/layout/vList2"/>
    <dgm:cxn modelId="{BB240354-D076-4ADF-978A-CD203A57D5FE}" type="presOf" srcId="{6412C85D-169F-41F0-84BC-3F217AE37F59}" destId="{8BBA09E5-FE57-4951-B99F-2BDF89EC6551}" srcOrd="0" destOrd="1" presId="urn:microsoft.com/office/officeart/2005/8/layout/vList2"/>
    <dgm:cxn modelId="{CCD5F376-3B04-46C6-8BD3-F46C57547B61}" type="presOf" srcId="{897489C6-77CC-402A-9B0B-3EE358A8A822}" destId="{95DE43BB-DDDE-4BB5-9E38-3C0A3AC96B50}" srcOrd="0" destOrd="0" presId="urn:microsoft.com/office/officeart/2005/8/layout/vList2"/>
    <dgm:cxn modelId="{9F660B86-6FDB-4CE1-9662-6D5C07E8D55F}" srcId="{897489C6-77CC-402A-9B0B-3EE358A8A822}" destId="{183C13B0-2C92-4AC6-B069-548FBC21CA4E}" srcOrd="1" destOrd="0" parTransId="{D8539FB9-D647-4337-9EA7-9FB491AD0686}" sibTransId="{71B8614D-06E7-43FC-B7B3-09F75004BF7C}"/>
    <dgm:cxn modelId="{5A0819C1-214B-49D2-B256-7DDE8D23CCD9}" type="presOf" srcId="{183C13B0-2C92-4AC6-B069-548FBC21CA4E}" destId="{1E056329-3A95-46B0-90C8-2B1FD0228165}" srcOrd="0" destOrd="0" presId="urn:microsoft.com/office/officeart/2005/8/layout/vList2"/>
    <dgm:cxn modelId="{FBD325CC-4F63-4E52-B932-FA459EDD6BB5}" type="presOf" srcId="{216A8027-1B78-43F4-927C-A6E533DCDD3B}" destId="{8BBA09E5-FE57-4951-B99F-2BDF89EC6551}" srcOrd="0" destOrd="0" presId="urn:microsoft.com/office/officeart/2005/8/layout/vList2"/>
    <dgm:cxn modelId="{B2AC20F6-8D19-4255-AE15-AE762FABC830}" srcId="{1B5C026C-FC17-4C2A-A884-94BAE489BFF0}" destId="{6412C85D-169F-41F0-84BC-3F217AE37F59}" srcOrd="1" destOrd="0" parTransId="{8A12F81A-B840-4724-A7A3-8A0A7D522D67}" sibTransId="{1F093F23-9255-4E4E-B5DC-7EF6939D2C2B}"/>
    <dgm:cxn modelId="{5F304C8B-C6BB-47CC-B79E-4F37A9493FC9}" type="presParOf" srcId="{95DE43BB-DDDE-4BB5-9E38-3C0A3AC96B50}" destId="{06CA8411-A856-4535-A9DB-19352547C6DA}" srcOrd="0" destOrd="0" presId="urn:microsoft.com/office/officeart/2005/8/layout/vList2"/>
    <dgm:cxn modelId="{1A9CB084-04B6-466E-B5DC-F07D3403058E}" type="presParOf" srcId="{95DE43BB-DDDE-4BB5-9E38-3C0A3AC96B50}" destId="{8BBA09E5-FE57-4951-B99F-2BDF89EC6551}" srcOrd="1" destOrd="0" presId="urn:microsoft.com/office/officeart/2005/8/layout/vList2"/>
    <dgm:cxn modelId="{2809041A-F75A-469A-828F-11E96063D7F3}" type="presParOf" srcId="{95DE43BB-DDDE-4BB5-9E38-3C0A3AC96B50}" destId="{1E056329-3A95-46B0-90C8-2B1FD022816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A448D31-C715-4C25-A937-6668123F7A8B}"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C0371A71-8227-4A1D-BDBF-7B0C92AF2576}">
      <dgm:prSet/>
      <dgm:spPr/>
      <dgm:t>
        <a:bodyPr/>
        <a:lstStyle/>
        <a:p>
          <a:r>
            <a:rPr lang="en-US" dirty="0"/>
            <a:t>Narrow</a:t>
          </a:r>
        </a:p>
      </dgm:t>
    </dgm:pt>
    <dgm:pt modelId="{2D656315-13CF-4C01-AA11-248F57538071}" type="parTrans" cxnId="{4D4047AF-CE64-429F-965D-CB64EBF5948B}">
      <dgm:prSet/>
      <dgm:spPr/>
      <dgm:t>
        <a:bodyPr/>
        <a:lstStyle/>
        <a:p>
          <a:endParaRPr lang="en-US"/>
        </a:p>
      </dgm:t>
    </dgm:pt>
    <dgm:pt modelId="{FB1FD7B5-2ABC-477D-8B4B-09B69103F2C0}" type="sibTrans" cxnId="{4D4047AF-CE64-429F-965D-CB64EBF5948B}">
      <dgm:prSet/>
      <dgm:spPr/>
      <dgm:t>
        <a:bodyPr/>
        <a:lstStyle/>
        <a:p>
          <a:endParaRPr lang="en-US"/>
        </a:p>
      </dgm:t>
    </dgm:pt>
    <dgm:pt modelId="{05CC7C58-5E8E-4DB2-8DAE-6B81D9124208}">
      <dgm:prSet/>
      <dgm:spPr/>
      <dgm:t>
        <a:bodyPr/>
        <a:lstStyle/>
        <a:p>
          <a:r>
            <a:rPr lang="en-US" dirty="0"/>
            <a:t>Unique</a:t>
          </a:r>
        </a:p>
      </dgm:t>
    </dgm:pt>
    <dgm:pt modelId="{1EF37DE7-9BD7-45A0-83AD-F27AAA8E516A}" type="parTrans" cxnId="{5AFBADDD-0E51-4D82-8D21-9A69B7D73141}">
      <dgm:prSet/>
      <dgm:spPr/>
      <dgm:t>
        <a:bodyPr/>
        <a:lstStyle/>
        <a:p>
          <a:endParaRPr lang="en-US"/>
        </a:p>
      </dgm:t>
    </dgm:pt>
    <dgm:pt modelId="{BD3138C6-7DA8-42D6-B377-E84659E87311}" type="sibTrans" cxnId="{5AFBADDD-0E51-4D82-8D21-9A69B7D73141}">
      <dgm:prSet/>
      <dgm:spPr/>
      <dgm:t>
        <a:bodyPr/>
        <a:lstStyle/>
        <a:p>
          <a:endParaRPr lang="en-US"/>
        </a:p>
      </dgm:t>
    </dgm:pt>
    <dgm:pt modelId="{662C5D3D-0665-42EE-97A9-A2C92B9EFB9E}">
      <dgm:prSet/>
      <dgm:spPr/>
      <dgm:t>
        <a:bodyPr/>
        <a:lstStyle/>
        <a:p>
          <a:r>
            <a:rPr lang="en-US" dirty="0"/>
            <a:t>Static</a:t>
          </a:r>
        </a:p>
      </dgm:t>
    </dgm:pt>
    <dgm:pt modelId="{BA6D6B89-AC46-4E2E-849C-A899AC8B78CD}" type="parTrans" cxnId="{F1831D9B-6397-4396-AE16-86EE913DF3E8}">
      <dgm:prSet/>
      <dgm:spPr/>
      <dgm:t>
        <a:bodyPr/>
        <a:lstStyle/>
        <a:p>
          <a:endParaRPr lang="en-US"/>
        </a:p>
      </dgm:t>
    </dgm:pt>
    <dgm:pt modelId="{A269DC89-F8C8-4BC6-BBD4-777E7BD14620}" type="sibTrans" cxnId="{F1831D9B-6397-4396-AE16-86EE913DF3E8}">
      <dgm:prSet/>
      <dgm:spPr/>
      <dgm:t>
        <a:bodyPr/>
        <a:lstStyle/>
        <a:p>
          <a:endParaRPr lang="en-US"/>
        </a:p>
      </dgm:t>
    </dgm:pt>
    <dgm:pt modelId="{215ECA4E-6BED-40CC-AF21-0A5D146341F1}">
      <dgm:prSet/>
      <dgm:spPr/>
      <dgm:t>
        <a:bodyPr/>
        <a:lstStyle/>
        <a:p>
          <a:r>
            <a:rPr lang="en-US" dirty="0"/>
            <a:t>Increasing</a:t>
          </a:r>
        </a:p>
      </dgm:t>
    </dgm:pt>
    <dgm:pt modelId="{2EBEF36C-1454-467B-B216-499EB0E3F2ED}" type="parTrans" cxnId="{6DCFEE13-01C2-408A-8114-AD1114AAFE20}">
      <dgm:prSet/>
      <dgm:spPr/>
      <dgm:t>
        <a:bodyPr/>
        <a:lstStyle/>
        <a:p>
          <a:endParaRPr lang="en-US"/>
        </a:p>
      </dgm:t>
    </dgm:pt>
    <dgm:pt modelId="{D4CBD46E-BB11-4E91-B801-06DFFC90822F}" type="sibTrans" cxnId="{6DCFEE13-01C2-408A-8114-AD1114AAFE20}">
      <dgm:prSet/>
      <dgm:spPr/>
      <dgm:t>
        <a:bodyPr/>
        <a:lstStyle/>
        <a:p>
          <a:endParaRPr lang="en-US"/>
        </a:p>
      </dgm:t>
    </dgm:pt>
    <dgm:pt modelId="{90FC4E6A-9CC1-47BF-8031-A7B464137FD1}">
      <dgm:prSet/>
      <dgm:spPr/>
      <dgm:t>
        <a:bodyPr/>
        <a:lstStyle/>
        <a:p>
          <a:r>
            <a:rPr lang="en-US" dirty="0"/>
            <a:t>Use a data type with a small number of bytes to conserve space in tables and indexes</a:t>
          </a:r>
        </a:p>
      </dgm:t>
    </dgm:pt>
    <dgm:pt modelId="{C4A42051-0465-45D7-83E3-9AFEBD03CDE4}" type="parTrans" cxnId="{241FCBA3-6D3A-4BC1-BC1E-7D24D867F99A}">
      <dgm:prSet/>
      <dgm:spPr/>
      <dgm:t>
        <a:bodyPr/>
        <a:lstStyle/>
        <a:p>
          <a:endParaRPr lang="en-US"/>
        </a:p>
      </dgm:t>
    </dgm:pt>
    <dgm:pt modelId="{4A7339F3-7E8B-460C-8FE7-A96DC028B0B8}" type="sibTrans" cxnId="{241FCBA3-6D3A-4BC1-BC1E-7D24D867F99A}">
      <dgm:prSet/>
      <dgm:spPr/>
      <dgm:t>
        <a:bodyPr/>
        <a:lstStyle/>
        <a:p>
          <a:endParaRPr lang="en-US"/>
        </a:p>
      </dgm:t>
    </dgm:pt>
    <dgm:pt modelId="{0C51D566-3829-4877-8A55-59F9DB6BA9EA}">
      <dgm:prSet/>
      <dgm:spPr/>
      <dgm:t>
        <a:bodyPr/>
        <a:lstStyle/>
        <a:p>
          <a:r>
            <a:rPr lang="en-US"/>
            <a:t>To avoid SQL adding a 4-byte uniquifier</a:t>
          </a:r>
          <a:endParaRPr lang="en-US" dirty="0"/>
        </a:p>
      </dgm:t>
    </dgm:pt>
    <dgm:pt modelId="{C7AC1F09-F590-49C0-BF6D-6955BF4A45D2}" type="parTrans" cxnId="{B273D146-35D1-485B-9613-6E8D3B2C1F98}">
      <dgm:prSet/>
      <dgm:spPr/>
      <dgm:t>
        <a:bodyPr/>
        <a:lstStyle/>
        <a:p>
          <a:endParaRPr lang="en-US"/>
        </a:p>
      </dgm:t>
    </dgm:pt>
    <dgm:pt modelId="{54724024-5EC3-4292-9A2B-9721470E4EFB}" type="sibTrans" cxnId="{B273D146-35D1-485B-9613-6E8D3B2C1F98}">
      <dgm:prSet/>
      <dgm:spPr/>
      <dgm:t>
        <a:bodyPr/>
        <a:lstStyle/>
        <a:p>
          <a:endParaRPr lang="en-US"/>
        </a:p>
      </dgm:t>
    </dgm:pt>
    <dgm:pt modelId="{CD1FD60E-97BA-40AA-9683-C95AD6289CAC}">
      <dgm:prSet/>
      <dgm:spPr/>
      <dgm:t>
        <a:bodyPr/>
        <a:lstStyle/>
        <a:p>
          <a:r>
            <a:rPr lang="en-US"/>
            <a:t>Allows data to stay constant without constant changes which could lead to page splits</a:t>
          </a:r>
          <a:endParaRPr lang="en-US" dirty="0"/>
        </a:p>
      </dgm:t>
    </dgm:pt>
    <dgm:pt modelId="{CDC9AC7D-6045-490F-A18D-148592DB69C1}" type="parTrans" cxnId="{F2B92B18-7D28-47A1-B28A-32528AF8978C}">
      <dgm:prSet/>
      <dgm:spPr/>
      <dgm:t>
        <a:bodyPr/>
        <a:lstStyle/>
        <a:p>
          <a:endParaRPr lang="en-US"/>
        </a:p>
      </dgm:t>
    </dgm:pt>
    <dgm:pt modelId="{E7EF35AA-35DC-47FE-BBF8-0FE5ECEE9566}" type="sibTrans" cxnId="{F2B92B18-7D28-47A1-B28A-32528AF8978C}">
      <dgm:prSet/>
      <dgm:spPr/>
      <dgm:t>
        <a:bodyPr/>
        <a:lstStyle/>
        <a:p>
          <a:endParaRPr lang="en-US"/>
        </a:p>
      </dgm:t>
    </dgm:pt>
    <dgm:pt modelId="{EDF77BD5-F53D-4028-9B5C-2C0F3FCBDE7E}">
      <dgm:prSet/>
      <dgm:spPr/>
      <dgm:t>
        <a:bodyPr/>
        <a:lstStyle/>
        <a:p>
          <a:r>
            <a:rPr lang="en-US"/>
            <a:t>Allows better write performance and reduces fragmentation issues</a:t>
          </a:r>
          <a:endParaRPr lang="en-US" dirty="0"/>
        </a:p>
      </dgm:t>
    </dgm:pt>
    <dgm:pt modelId="{0F0334B8-6FD8-4E7D-BCEE-259D33BD1EC1}" type="parTrans" cxnId="{3F0A83D7-6757-4353-819D-73652EC1A30D}">
      <dgm:prSet/>
      <dgm:spPr/>
      <dgm:t>
        <a:bodyPr/>
        <a:lstStyle/>
        <a:p>
          <a:endParaRPr lang="en-US"/>
        </a:p>
      </dgm:t>
    </dgm:pt>
    <dgm:pt modelId="{F91CD8F3-230C-4CA9-9AE6-1384EF655549}" type="sibTrans" cxnId="{3F0A83D7-6757-4353-819D-73652EC1A30D}">
      <dgm:prSet/>
      <dgm:spPr/>
      <dgm:t>
        <a:bodyPr/>
        <a:lstStyle/>
        <a:p>
          <a:endParaRPr lang="en-US"/>
        </a:p>
      </dgm:t>
    </dgm:pt>
    <dgm:pt modelId="{586E5153-0484-4F6F-BC44-C3BF5C929FDF}" type="pres">
      <dgm:prSet presAssocID="{1A448D31-C715-4C25-A937-6668123F7A8B}" presName="Name0" presStyleCnt="0">
        <dgm:presLayoutVars>
          <dgm:dir/>
          <dgm:animLvl val="lvl"/>
          <dgm:resizeHandles val="exact"/>
        </dgm:presLayoutVars>
      </dgm:prSet>
      <dgm:spPr/>
    </dgm:pt>
    <dgm:pt modelId="{C548EB57-F384-461B-8E2B-A7FAC29EBA6A}" type="pres">
      <dgm:prSet presAssocID="{C0371A71-8227-4A1D-BDBF-7B0C92AF2576}" presName="composite" presStyleCnt="0"/>
      <dgm:spPr/>
    </dgm:pt>
    <dgm:pt modelId="{F3E41B4A-DFAD-4E95-9962-2C093565E9BF}" type="pres">
      <dgm:prSet presAssocID="{C0371A71-8227-4A1D-BDBF-7B0C92AF2576}" presName="parTx" presStyleLbl="alignNode1" presStyleIdx="0" presStyleCnt="4">
        <dgm:presLayoutVars>
          <dgm:chMax val="0"/>
          <dgm:chPref val="0"/>
          <dgm:bulletEnabled val="1"/>
        </dgm:presLayoutVars>
      </dgm:prSet>
      <dgm:spPr/>
    </dgm:pt>
    <dgm:pt modelId="{3054F010-4FBC-416B-9ABF-97AD6E9C8F0D}" type="pres">
      <dgm:prSet presAssocID="{C0371A71-8227-4A1D-BDBF-7B0C92AF2576}" presName="desTx" presStyleLbl="alignAccFollowNode1" presStyleIdx="0" presStyleCnt="4">
        <dgm:presLayoutVars>
          <dgm:bulletEnabled val="1"/>
        </dgm:presLayoutVars>
      </dgm:prSet>
      <dgm:spPr/>
    </dgm:pt>
    <dgm:pt modelId="{014A359F-251E-4FDC-9EA4-5F7CDF8F5809}" type="pres">
      <dgm:prSet presAssocID="{FB1FD7B5-2ABC-477D-8B4B-09B69103F2C0}" presName="space" presStyleCnt="0"/>
      <dgm:spPr/>
    </dgm:pt>
    <dgm:pt modelId="{FC382FAA-574E-4E24-A8CA-18596325EECF}" type="pres">
      <dgm:prSet presAssocID="{05CC7C58-5E8E-4DB2-8DAE-6B81D9124208}" presName="composite" presStyleCnt="0"/>
      <dgm:spPr/>
    </dgm:pt>
    <dgm:pt modelId="{763147AF-1FF9-485A-9729-4A680B954A40}" type="pres">
      <dgm:prSet presAssocID="{05CC7C58-5E8E-4DB2-8DAE-6B81D9124208}" presName="parTx" presStyleLbl="alignNode1" presStyleIdx="1" presStyleCnt="4">
        <dgm:presLayoutVars>
          <dgm:chMax val="0"/>
          <dgm:chPref val="0"/>
          <dgm:bulletEnabled val="1"/>
        </dgm:presLayoutVars>
      </dgm:prSet>
      <dgm:spPr/>
    </dgm:pt>
    <dgm:pt modelId="{BD48AE27-377F-404D-87E4-1FBB0CF4A686}" type="pres">
      <dgm:prSet presAssocID="{05CC7C58-5E8E-4DB2-8DAE-6B81D9124208}" presName="desTx" presStyleLbl="alignAccFollowNode1" presStyleIdx="1" presStyleCnt="4">
        <dgm:presLayoutVars>
          <dgm:bulletEnabled val="1"/>
        </dgm:presLayoutVars>
      </dgm:prSet>
      <dgm:spPr/>
    </dgm:pt>
    <dgm:pt modelId="{B44909F6-07C4-46FB-B31C-5EF8E0EE82EA}" type="pres">
      <dgm:prSet presAssocID="{BD3138C6-7DA8-42D6-B377-E84659E87311}" presName="space" presStyleCnt="0"/>
      <dgm:spPr/>
    </dgm:pt>
    <dgm:pt modelId="{BA9C574A-6F91-4B49-8F50-E2929848BE84}" type="pres">
      <dgm:prSet presAssocID="{662C5D3D-0665-42EE-97A9-A2C92B9EFB9E}" presName="composite" presStyleCnt="0"/>
      <dgm:spPr/>
    </dgm:pt>
    <dgm:pt modelId="{34B2FABE-8128-4E75-B0F4-F292E9EA6E19}" type="pres">
      <dgm:prSet presAssocID="{662C5D3D-0665-42EE-97A9-A2C92B9EFB9E}" presName="parTx" presStyleLbl="alignNode1" presStyleIdx="2" presStyleCnt="4">
        <dgm:presLayoutVars>
          <dgm:chMax val="0"/>
          <dgm:chPref val="0"/>
          <dgm:bulletEnabled val="1"/>
        </dgm:presLayoutVars>
      </dgm:prSet>
      <dgm:spPr/>
    </dgm:pt>
    <dgm:pt modelId="{BB2779C5-2B1E-4DDB-AC32-7413C221669E}" type="pres">
      <dgm:prSet presAssocID="{662C5D3D-0665-42EE-97A9-A2C92B9EFB9E}" presName="desTx" presStyleLbl="alignAccFollowNode1" presStyleIdx="2" presStyleCnt="4">
        <dgm:presLayoutVars>
          <dgm:bulletEnabled val="1"/>
        </dgm:presLayoutVars>
      </dgm:prSet>
      <dgm:spPr/>
    </dgm:pt>
    <dgm:pt modelId="{2AA6173B-C9C6-493E-91F8-7189213CA1B1}" type="pres">
      <dgm:prSet presAssocID="{A269DC89-F8C8-4BC6-BBD4-777E7BD14620}" presName="space" presStyleCnt="0"/>
      <dgm:spPr/>
    </dgm:pt>
    <dgm:pt modelId="{821CEA09-272C-42E2-9C17-CAB01C0B06C7}" type="pres">
      <dgm:prSet presAssocID="{215ECA4E-6BED-40CC-AF21-0A5D146341F1}" presName="composite" presStyleCnt="0"/>
      <dgm:spPr/>
    </dgm:pt>
    <dgm:pt modelId="{6B9C340A-4C2D-4897-B4C9-C697ACEFEFF6}" type="pres">
      <dgm:prSet presAssocID="{215ECA4E-6BED-40CC-AF21-0A5D146341F1}" presName="parTx" presStyleLbl="alignNode1" presStyleIdx="3" presStyleCnt="4">
        <dgm:presLayoutVars>
          <dgm:chMax val="0"/>
          <dgm:chPref val="0"/>
          <dgm:bulletEnabled val="1"/>
        </dgm:presLayoutVars>
      </dgm:prSet>
      <dgm:spPr/>
    </dgm:pt>
    <dgm:pt modelId="{FF30CCCE-2AE3-4D84-8D37-03DD4AB19273}" type="pres">
      <dgm:prSet presAssocID="{215ECA4E-6BED-40CC-AF21-0A5D146341F1}" presName="desTx" presStyleLbl="alignAccFollowNode1" presStyleIdx="3" presStyleCnt="4">
        <dgm:presLayoutVars>
          <dgm:bulletEnabled val="1"/>
        </dgm:presLayoutVars>
      </dgm:prSet>
      <dgm:spPr/>
    </dgm:pt>
  </dgm:ptLst>
  <dgm:cxnLst>
    <dgm:cxn modelId="{6DCFEE13-01C2-408A-8114-AD1114AAFE20}" srcId="{1A448D31-C715-4C25-A937-6668123F7A8B}" destId="{215ECA4E-6BED-40CC-AF21-0A5D146341F1}" srcOrd="3" destOrd="0" parTransId="{2EBEF36C-1454-467B-B216-499EB0E3F2ED}" sibTransId="{D4CBD46E-BB11-4E91-B801-06DFFC90822F}"/>
    <dgm:cxn modelId="{F2B92B18-7D28-47A1-B28A-32528AF8978C}" srcId="{662C5D3D-0665-42EE-97A9-A2C92B9EFB9E}" destId="{CD1FD60E-97BA-40AA-9683-C95AD6289CAC}" srcOrd="0" destOrd="0" parTransId="{CDC9AC7D-6045-490F-A18D-148592DB69C1}" sibTransId="{E7EF35AA-35DC-47FE-BBF8-0FE5ECEE9566}"/>
    <dgm:cxn modelId="{1F7E2B36-9622-4EE9-855A-E837FE8C392C}" type="presOf" srcId="{05CC7C58-5E8E-4DB2-8DAE-6B81D9124208}" destId="{763147AF-1FF9-485A-9729-4A680B954A40}" srcOrd="0" destOrd="0" presId="urn:microsoft.com/office/officeart/2005/8/layout/hList1"/>
    <dgm:cxn modelId="{B273D146-35D1-485B-9613-6E8D3B2C1F98}" srcId="{05CC7C58-5E8E-4DB2-8DAE-6B81D9124208}" destId="{0C51D566-3829-4877-8A55-59F9DB6BA9EA}" srcOrd="0" destOrd="0" parTransId="{C7AC1F09-F590-49C0-BF6D-6955BF4A45D2}" sibTransId="{54724024-5EC3-4292-9A2B-9721470E4EFB}"/>
    <dgm:cxn modelId="{FB350C83-76C7-4D60-BFF3-B5496A5603CC}" type="presOf" srcId="{C0371A71-8227-4A1D-BDBF-7B0C92AF2576}" destId="{F3E41B4A-DFAD-4E95-9962-2C093565E9BF}" srcOrd="0" destOrd="0" presId="urn:microsoft.com/office/officeart/2005/8/layout/hList1"/>
    <dgm:cxn modelId="{F1831D9B-6397-4396-AE16-86EE913DF3E8}" srcId="{1A448D31-C715-4C25-A937-6668123F7A8B}" destId="{662C5D3D-0665-42EE-97A9-A2C92B9EFB9E}" srcOrd="2" destOrd="0" parTransId="{BA6D6B89-AC46-4E2E-849C-A899AC8B78CD}" sibTransId="{A269DC89-F8C8-4BC6-BBD4-777E7BD14620}"/>
    <dgm:cxn modelId="{241FCBA3-6D3A-4BC1-BC1E-7D24D867F99A}" srcId="{C0371A71-8227-4A1D-BDBF-7B0C92AF2576}" destId="{90FC4E6A-9CC1-47BF-8031-A7B464137FD1}" srcOrd="0" destOrd="0" parTransId="{C4A42051-0465-45D7-83E3-9AFEBD03CDE4}" sibTransId="{4A7339F3-7E8B-460C-8FE7-A96DC028B0B8}"/>
    <dgm:cxn modelId="{4D4047AF-CE64-429F-965D-CB64EBF5948B}" srcId="{1A448D31-C715-4C25-A937-6668123F7A8B}" destId="{C0371A71-8227-4A1D-BDBF-7B0C92AF2576}" srcOrd="0" destOrd="0" parTransId="{2D656315-13CF-4C01-AA11-248F57538071}" sibTransId="{FB1FD7B5-2ABC-477D-8B4B-09B69103F2C0}"/>
    <dgm:cxn modelId="{48CAF2B1-22F7-490D-9080-69B656E285F3}" type="presOf" srcId="{662C5D3D-0665-42EE-97A9-A2C92B9EFB9E}" destId="{34B2FABE-8128-4E75-B0F4-F292E9EA6E19}" srcOrd="0" destOrd="0" presId="urn:microsoft.com/office/officeart/2005/8/layout/hList1"/>
    <dgm:cxn modelId="{035565B9-D9CC-47B7-9B3A-1C4273CC4EE0}" type="presOf" srcId="{1A448D31-C715-4C25-A937-6668123F7A8B}" destId="{586E5153-0484-4F6F-BC44-C3BF5C929FDF}" srcOrd="0" destOrd="0" presId="urn:microsoft.com/office/officeart/2005/8/layout/hList1"/>
    <dgm:cxn modelId="{4FB14ACD-51BA-478D-A46F-76890FA627F6}" type="presOf" srcId="{0C51D566-3829-4877-8A55-59F9DB6BA9EA}" destId="{BD48AE27-377F-404D-87E4-1FBB0CF4A686}" srcOrd="0" destOrd="0" presId="urn:microsoft.com/office/officeart/2005/8/layout/hList1"/>
    <dgm:cxn modelId="{3F0A83D7-6757-4353-819D-73652EC1A30D}" srcId="{215ECA4E-6BED-40CC-AF21-0A5D146341F1}" destId="{EDF77BD5-F53D-4028-9B5C-2C0F3FCBDE7E}" srcOrd="0" destOrd="0" parTransId="{0F0334B8-6FD8-4E7D-BCEE-259D33BD1EC1}" sibTransId="{F91CD8F3-230C-4CA9-9AE6-1384EF655549}"/>
    <dgm:cxn modelId="{935F1CDC-577C-4478-B591-64AB84083553}" type="presOf" srcId="{CD1FD60E-97BA-40AA-9683-C95AD6289CAC}" destId="{BB2779C5-2B1E-4DDB-AC32-7413C221669E}" srcOrd="0" destOrd="0" presId="urn:microsoft.com/office/officeart/2005/8/layout/hList1"/>
    <dgm:cxn modelId="{97B251DD-0E80-46D0-8E67-63505A6ADB69}" type="presOf" srcId="{EDF77BD5-F53D-4028-9B5C-2C0F3FCBDE7E}" destId="{FF30CCCE-2AE3-4D84-8D37-03DD4AB19273}" srcOrd="0" destOrd="0" presId="urn:microsoft.com/office/officeart/2005/8/layout/hList1"/>
    <dgm:cxn modelId="{5AFBADDD-0E51-4D82-8D21-9A69B7D73141}" srcId="{1A448D31-C715-4C25-A937-6668123F7A8B}" destId="{05CC7C58-5E8E-4DB2-8DAE-6B81D9124208}" srcOrd="1" destOrd="0" parTransId="{1EF37DE7-9BD7-45A0-83AD-F27AAA8E516A}" sibTransId="{BD3138C6-7DA8-42D6-B377-E84659E87311}"/>
    <dgm:cxn modelId="{6D8ADDF7-292B-412D-A20C-82979941C8D9}" type="presOf" srcId="{90FC4E6A-9CC1-47BF-8031-A7B464137FD1}" destId="{3054F010-4FBC-416B-9ABF-97AD6E9C8F0D}" srcOrd="0" destOrd="0" presId="urn:microsoft.com/office/officeart/2005/8/layout/hList1"/>
    <dgm:cxn modelId="{7DD744FD-BBD2-4655-9216-574EC898C000}" type="presOf" srcId="{215ECA4E-6BED-40CC-AF21-0A5D146341F1}" destId="{6B9C340A-4C2D-4897-B4C9-C697ACEFEFF6}" srcOrd="0" destOrd="0" presId="urn:microsoft.com/office/officeart/2005/8/layout/hList1"/>
    <dgm:cxn modelId="{3153035A-1D11-4151-BCD9-D7C4C87C8C40}" type="presParOf" srcId="{586E5153-0484-4F6F-BC44-C3BF5C929FDF}" destId="{C548EB57-F384-461B-8E2B-A7FAC29EBA6A}" srcOrd="0" destOrd="0" presId="urn:microsoft.com/office/officeart/2005/8/layout/hList1"/>
    <dgm:cxn modelId="{6EDEB3D4-3F13-422F-9CDC-FFA8E65C05EC}" type="presParOf" srcId="{C548EB57-F384-461B-8E2B-A7FAC29EBA6A}" destId="{F3E41B4A-DFAD-4E95-9962-2C093565E9BF}" srcOrd="0" destOrd="0" presId="urn:microsoft.com/office/officeart/2005/8/layout/hList1"/>
    <dgm:cxn modelId="{6968D1F9-1505-437B-B90E-D5F68FFEB6C9}" type="presParOf" srcId="{C548EB57-F384-461B-8E2B-A7FAC29EBA6A}" destId="{3054F010-4FBC-416B-9ABF-97AD6E9C8F0D}" srcOrd="1" destOrd="0" presId="urn:microsoft.com/office/officeart/2005/8/layout/hList1"/>
    <dgm:cxn modelId="{EE614A14-F1EF-4387-B2D6-1C73D3AF2D5C}" type="presParOf" srcId="{586E5153-0484-4F6F-BC44-C3BF5C929FDF}" destId="{014A359F-251E-4FDC-9EA4-5F7CDF8F5809}" srcOrd="1" destOrd="0" presId="urn:microsoft.com/office/officeart/2005/8/layout/hList1"/>
    <dgm:cxn modelId="{9AD67C64-2064-45BE-B9D7-7DA1B0926509}" type="presParOf" srcId="{586E5153-0484-4F6F-BC44-C3BF5C929FDF}" destId="{FC382FAA-574E-4E24-A8CA-18596325EECF}" srcOrd="2" destOrd="0" presId="urn:microsoft.com/office/officeart/2005/8/layout/hList1"/>
    <dgm:cxn modelId="{DF4E9BD4-58A5-449D-90AA-8F72A4FFB872}" type="presParOf" srcId="{FC382FAA-574E-4E24-A8CA-18596325EECF}" destId="{763147AF-1FF9-485A-9729-4A680B954A40}" srcOrd="0" destOrd="0" presId="urn:microsoft.com/office/officeart/2005/8/layout/hList1"/>
    <dgm:cxn modelId="{9A7D0896-C75C-4C74-AF21-54A543A6B596}" type="presParOf" srcId="{FC382FAA-574E-4E24-A8CA-18596325EECF}" destId="{BD48AE27-377F-404D-87E4-1FBB0CF4A686}" srcOrd="1" destOrd="0" presId="urn:microsoft.com/office/officeart/2005/8/layout/hList1"/>
    <dgm:cxn modelId="{419B4E19-BC62-441C-A8C4-B2513E06180A}" type="presParOf" srcId="{586E5153-0484-4F6F-BC44-C3BF5C929FDF}" destId="{B44909F6-07C4-46FB-B31C-5EF8E0EE82EA}" srcOrd="3" destOrd="0" presId="urn:microsoft.com/office/officeart/2005/8/layout/hList1"/>
    <dgm:cxn modelId="{9E59A2B2-B691-4FEB-BAE7-FD837798B016}" type="presParOf" srcId="{586E5153-0484-4F6F-BC44-C3BF5C929FDF}" destId="{BA9C574A-6F91-4B49-8F50-E2929848BE84}" srcOrd="4" destOrd="0" presId="urn:microsoft.com/office/officeart/2005/8/layout/hList1"/>
    <dgm:cxn modelId="{68EA1A1C-9BA2-4F34-8ED1-52B53D949A0D}" type="presParOf" srcId="{BA9C574A-6F91-4B49-8F50-E2929848BE84}" destId="{34B2FABE-8128-4E75-B0F4-F292E9EA6E19}" srcOrd="0" destOrd="0" presId="urn:microsoft.com/office/officeart/2005/8/layout/hList1"/>
    <dgm:cxn modelId="{11243C66-D2D8-4E9E-BDBC-E237C123DB0F}" type="presParOf" srcId="{BA9C574A-6F91-4B49-8F50-E2929848BE84}" destId="{BB2779C5-2B1E-4DDB-AC32-7413C221669E}" srcOrd="1" destOrd="0" presId="urn:microsoft.com/office/officeart/2005/8/layout/hList1"/>
    <dgm:cxn modelId="{F70B092E-7B4F-4028-9432-A93837B706BD}" type="presParOf" srcId="{586E5153-0484-4F6F-BC44-C3BF5C929FDF}" destId="{2AA6173B-C9C6-493E-91F8-7189213CA1B1}" srcOrd="5" destOrd="0" presId="urn:microsoft.com/office/officeart/2005/8/layout/hList1"/>
    <dgm:cxn modelId="{66E1B0DC-E4BC-4141-8AEB-7C7E12355346}" type="presParOf" srcId="{586E5153-0484-4F6F-BC44-C3BF5C929FDF}" destId="{821CEA09-272C-42E2-9C17-CAB01C0B06C7}" srcOrd="6" destOrd="0" presId="urn:microsoft.com/office/officeart/2005/8/layout/hList1"/>
    <dgm:cxn modelId="{D08A84AF-3677-461F-8C6A-7CA72072D0EA}" type="presParOf" srcId="{821CEA09-272C-42E2-9C17-CAB01C0B06C7}" destId="{6B9C340A-4C2D-4897-B4C9-C697ACEFEFF6}" srcOrd="0" destOrd="0" presId="urn:microsoft.com/office/officeart/2005/8/layout/hList1"/>
    <dgm:cxn modelId="{70E3C2D1-12E0-4DE3-B038-E9EE7EC65112}" type="presParOf" srcId="{821CEA09-272C-42E2-9C17-CAB01C0B06C7}" destId="{FF30CCCE-2AE3-4D84-8D37-03DD4AB1927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E6EBF-D298-4DB4-A7C3-B65BC6EDA707}">
      <dsp:nvSpPr>
        <dsp:cNvPr id="0" name=""/>
        <dsp:cNvSpPr/>
      </dsp:nvSpPr>
      <dsp:spPr>
        <a:xfrm>
          <a:off x="990606" y="2878"/>
          <a:ext cx="4373549" cy="210749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dirty="0"/>
            <a:t>An index is an on-disk structure associated with a table that speeds retrieval of rows.</a:t>
          </a:r>
          <a:endParaRPr lang="en-US" sz="3000" kern="1200" dirty="0"/>
        </a:p>
      </dsp:txBody>
      <dsp:txXfrm>
        <a:off x="990606" y="2878"/>
        <a:ext cx="4373549" cy="2107497"/>
      </dsp:txXfrm>
    </dsp:sp>
    <dsp:sp modelId="{1D82B2A2-337A-42B0-996F-DE3C71434FA6}">
      <dsp:nvSpPr>
        <dsp:cNvPr id="0" name=""/>
        <dsp:cNvSpPr/>
      </dsp:nvSpPr>
      <dsp:spPr>
        <a:xfrm>
          <a:off x="990606" y="2461625"/>
          <a:ext cx="4373549" cy="210749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dirty="0"/>
            <a:t>An index contains keys built from one or more columns in the table.</a:t>
          </a:r>
          <a:endParaRPr lang="en-US" sz="3000" kern="1200" dirty="0"/>
        </a:p>
      </dsp:txBody>
      <dsp:txXfrm>
        <a:off x="990606" y="2461625"/>
        <a:ext cx="4373549" cy="210749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BFC81-22E8-45D4-901A-23C691F6DEB9}">
      <dsp:nvSpPr>
        <dsp:cNvPr id="0" name=""/>
        <dsp:cNvSpPr/>
      </dsp:nvSpPr>
      <dsp:spPr>
        <a:xfrm>
          <a:off x="53" y="46424"/>
          <a:ext cx="5084401" cy="1872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requently, clustering on the primary key supports the clustered index best practices </a:t>
          </a:r>
          <a:endParaRPr lang="en-US" sz="2400" kern="1200" dirty="0"/>
        </a:p>
      </dsp:txBody>
      <dsp:txXfrm>
        <a:off x="53" y="46424"/>
        <a:ext cx="5084401" cy="1872000"/>
      </dsp:txXfrm>
    </dsp:sp>
    <dsp:sp modelId="{6AF58ACC-1A49-4713-A8CF-20B66EAA09E8}">
      <dsp:nvSpPr>
        <dsp:cNvPr id="0" name=""/>
        <dsp:cNvSpPr/>
      </dsp:nvSpPr>
      <dsp:spPr>
        <a:xfrm>
          <a:off x="53" y="1918424"/>
          <a:ext cx="5084401" cy="28548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Query predicate use Primary Key</a:t>
          </a:r>
        </a:p>
        <a:p>
          <a:pPr marL="228600" lvl="1" indent="-228600" algn="l" defTabSz="889000">
            <a:lnSpc>
              <a:spcPct val="90000"/>
            </a:lnSpc>
            <a:spcBef>
              <a:spcPct val="0"/>
            </a:spcBef>
            <a:spcAft>
              <a:spcPct val="15000"/>
            </a:spcAft>
            <a:buChar char="•"/>
          </a:pPr>
          <a:r>
            <a:rPr lang="en-US" sz="2000" kern="1200" baseline="0" dirty="0"/>
            <a:t>Primary keys are involved in joins to foreign keys</a:t>
          </a:r>
          <a:endParaRPr lang="en-US" sz="2000" kern="1200" dirty="0"/>
        </a:p>
        <a:p>
          <a:pPr marL="228600" lvl="1" indent="-228600" algn="l" defTabSz="889000">
            <a:lnSpc>
              <a:spcPct val="90000"/>
            </a:lnSpc>
            <a:spcBef>
              <a:spcPct val="0"/>
            </a:spcBef>
            <a:spcAft>
              <a:spcPct val="15000"/>
            </a:spcAft>
            <a:buChar char="•"/>
          </a:pPr>
          <a:r>
            <a:rPr lang="en-US" sz="2000" kern="1200" baseline="0" dirty="0"/>
            <a:t>Primary keys are unique</a:t>
          </a:r>
          <a:endParaRPr lang="en-US" sz="2000" kern="1200" dirty="0"/>
        </a:p>
        <a:p>
          <a:pPr marL="228600" lvl="1" indent="-228600" algn="l" defTabSz="889000">
            <a:lnSpc>
              <a:spcPct val="90000"/>
            </a:lnSpc>
            <a:spcBef>
              <a:spcPct val="0"/>
            </a:spcBef>
            <a:spcAft>
              <a:spcPct val="15000"/>
            </a:spcAft>
            <a:buChar char="•"/>
          </a:pPr>
          <a:r>
            <a:rPr lang="en-US" sz="2000" kern="1200" baseline="0" dirty="0"/>
            <a:t>Primary keys are typically ascending</a:t>
          </a:r>
          <a:endParaRPr lang="en-US" sz="2000" kern="1200" dirty="0"/>
        </a:p>
        <a:p>
          <a:pPr marL="228600" lvl="1" indent="-228600" algn="l" defTabSz="889000">
            <a:lnSpc>
              <a:spcPct val="90000"/>
            </a:lnSpc>
            <a:spcBef>
              <a:spcPct val="0"/>
            </a:spcBef>
            <a:spcAft>
              <a:spcPct val="15000"/>
            </a:spcAft>
            <a:buChar char="•"/>
          </a:pPr>
          <a:r>
            <a:rPr lang="en-US" sz="2000" kern="1200" baseline="0" dirty="0"/>
            <a:t>Primary keys are typically not updated</a:t>
          </a:r>
          <a:endParaRPr lang="en-US" sz="2000" kern="1200" dirty="0"/>
        </a:p>
      </dsp:txBody>
      <dsp:txXfrm>
        <a:off x="53" y="1918424"/>
        <a:ext cx="5084401" cy="2854800"/>
      </dsp:txXfrm>
    </dsp:sp>
    <dsp:sp modelId="{C2D0EB96-AF50-4A35-A3DE-D8C7A53C0B87}">
      <dsp:nvSpPr>
        <dsp:cNvPr id="0" name=""/>
        <dsp:cNvSpPr/>
      </dsp:nvSpPr>
      <dsp:spPr>
        <a:xfrm>
          <a:off x="5796271" y="46424"/>
          <a:ext cx="5084401" cy="1872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o not cluster on the Primary key</a:t>
          </a:r>
          <a:endParaRPr lang="en-US" sz="2400" kern="1200" dirty="0"/>
        </a:p>
      </dsp:txBody>
      <dsp:txXfrm>
        <a:off x="5796271" y="46424"/>
        <a:ext cx="5084401" cy="1872000"/>
      </dsp:txXfrm>
    </dsp:sp>
    <dsp:sp modelId="{EC2D2716-7AE0-4C46-9709-86BA3F5024B8}">
      <dsp:nvSpPr>
        <dsp:cNvPr id="0" name=""/>
        <dsp:cNvSpPr/>
      </dsp:nvSpPr>
      <dsp:spPr>
        <a:xfrm>
          <a:off x="5796271" y="1918424"/>
          <a:ext cx="5084401" cy="28548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t>When table is accessed by other keys than the primary key</a:t>
          </a:r>
          <a:endParaRPr lang="en-US" sz="2000" kern="1200" dirty="0"/>
        </a:p>
        <a:p>
          <a:pPr marL="228600" lvl="1" indent="-228600" algn="l" defTabSz="889000">
            <a:lnSpc>
              <a:spcPct val="90000"/>
            </a:lnSpc>
            <a:spcBef>
              <a:spcPct val="0"/>
            </a:spcBef>
            <a:spcAft>
              <a:spcPct val="15000"/>
            </a:spcAft>
            <a:buChar char="•"/>
          </a:pPr>
          <a:r>
            <a:rPr lang="en-US" sz="2000" kern="1200" dirty="0"/>
            <a:t>Common issue accessing association or child table, when these tables require different primary key than parent table</a:t>
          </a:r>
        </a:p>
        <a:p>
          <a:pPr marL="228600" lvl="1" indent="-228600" algn="l" defTabSz="889000">
            <a:lnSpc>
              <a:spcPct val="90000"/>
            </a:lnSpc>
            <a:spcBef>
              <a:spcPct val="0"/>
            </a:spcBef>
            <a:spcAft>
              <a:spcPct val="15000"/>
            </a:spcAft>
            <a:buChar char="•"/>
          </a:pPr>
          <a:r>
            <a:rPr lang="en-US" sz="2000" kern="1200" baseline="0" dirty="0"/>
            <a:t>Use </a:t>
          </a:r>
          <a:r>
            <a:rPr lang="en-US" sz="2000" kern="1200" baseline="0" dirty="0" err="1">
              <a:solidFill>
                <a:schemeClr val="accent4"/>
              </a:solidFill>
            </a:rPr>
            <a:t>sys.dm_db_index_usage_stats</a:t>
          </a:r>
          <a:r>
            <a:rPr lang="en-US" sz="2000" kern="1200" baseline="0" dirty="0">
              <a:solidFill>
                <a:schemeClr val="accent4"/>
              </a:solidFill>
            </a:rPr>
            <a:t> </a:t>
          </a:r>
          <a:r>
            <a:rPr lang="en-US" sz="2000" kern="1200" baseline="0" dirty="0"/>
            <a:t>to review data access patterns of index</a:t>
          </a:r>
          <a:endParaRPr lang="en-US" sz="2000" kern="1200" dirty="0"/>
        </a:p>
      </dsp:txBody>
      <dsp:txXfrm>
        <a:off x="5796271" y="1918424"/>
        <a:ext cx="5084401" cy="28548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58023E-5379-4E43-8D5C-BDFB7061ED99}">
      <dsp:nvSpPr>
        <dsp:cNvPr id="0" name=""/>
        <dsp:cNvSpPr/>
      </dsp:nvSpPr>
      <dsp:spPr>
        <a:xfrm>
          <a:off x="0" y="496529"/>
          <a:ext cx="3400226" cy="20401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a:t>Index columns used in WHERE clauses and JOINs.</a:t>
          </a:r>
          <a:endParaRPr lang="en-US" sz="2400" kern="1200"/>
        </a:p>
      </dsp:txBody>
      <dsp:txXfrm>
        <a:off x="0" y="496529"/>
        <a:ext cx="3400226" cy="2040136"/>
      </dsp:txXfrm>
    </dsp:sp>
    <dsp:sp modelId="{C74C92D6-8014-4E1D-9165-76DF4C5E6A84}">
      <dsp:nvSpPr>
        <dsp:cNvPr id="0" name=""/>
        <dsp:cNvSpPr/>
      </dsp:nvSpPr>
      <dsp:spPr>
        <a:xfrm>
          <a:off x="3740249" y="496529"/>
          <a:ext cx="3400226" cy="2040136"/>
        </a:xfrm>
        <a:prstGeom prst="rect">
          <a:avLst/>
        </a:prstGeom>
        <a:solidFill>
          <a:schemeClr val="accent2">
            <a:hueOff val="-2412615"/>
            <a:satOff val="10894"/>
            <a:lumOff val="3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Keep indexes to a minimum, to minimize impact on DML and log writes.</a:t>
          </a:r>
          <a:endParaRPr lang="en-US" sz="2400" kern="1200" dirty="0"/>
        </a:p>
      </dsp:txBody>
      <dsp:txXfrm>
        <a:off x="3740249" y="496529"/>
        <a:ext cx="3400226" cy="2040136"/>
      </dsp:txXfrm>
    </dsp:sp>
    <dsp:sp modelId="{66311983-4D89-46B6-8ACF-DE2D1AA6A44E}">
      <dsp:nvSpPr>
        <dsp:cNvPr id="0" name=""/>
        <dsp:cNvSpPr/>
      </dsp:nvSpPr>
      <dsp:spPr>
        <a:xfrm>
          <a:off x="7480499" y="496529"/>
          <a:ext cx="3400226" cy="2040136"/>
        </a:xfrm>
        <a:prstGeom prst="rect">
          <a:avLst/>
        </a:prstGeom>
        <a:solidFill>
          <a:schemeClr val="accent2">
            <a:hueOff val="-4825229"/>
            <a:satOff val="21788"/>
            <a:lumOff val="68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wo basic approaches: Single column indexes or Multicolumn indexes</a:t>
          </a:r>
          <a:endParaRPr lang="en-US" sz="2400" kern="1200" dirty="0"/>
        </a:p>
      </dsp:txBody>
      <dsp:txXfrm>
        <a:off x="7480499" y="496529"/>
        <a:ext cx="3400226" cy="2040136"/>
      </dsp:txXfrm>
    </dsp:sp>
    <dsp:sp modelId="{75123E70-C1E2-4C1F-8147-91166157351C}">
      <dsp:nvSpPr>
        <dsp:cNvPr id="0" name=""/>
        <dsp:cNvSpPr/>
      </dsp:nvSpPr>
      <dsp:spPr>
        <a:xfrm>
          <a:off x="0" y="2876687"/>
          <a:ext cx="3400226" cy="2040136"/>
        </a:xfrm>
        <a:prstGeom prst="rect">
          <a:avLst/>
        </a:prstGeom>
        <a:solidFill>
          <a:schemeClr val="accent2">
            <a:hueOff val="-7237844"/>
            <a:satOff val="32683"/>
            <a:lumOff val="102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Easy to create too many nonclustered indexes.</a:t>
          </a:r>
          <a:endParaRPr lang="en-US" sz="2400" kern="1200" dirty="0"/>
        </a:p>
      </dsp:txBody>
      <dsp:txXfrm>
        <a:off x="0" y="2876687"/>
        <a:ext cx="3400226" cy="2040136"/>
      </dsp:txXfrm>
    </dsp:sp>
    <dsp:sp modelId="{1F149603-872A-4E7C-8F99-341873593DB3}">
      <dsp:nvSpPr>
        <dsp:cNvPr id="0" name=""/>
        <dsp:cNvSpPr/>
      </dsp:nvSpPr>
      <dsp:spPr>
        <a:xfrm>
          <a:off x="3740249" y="2876687"/>
          <a:ext cx="3400226" cy="2040136"/>
        </a:xfrm>
        <a:prstGeom prst="rect">
          <a:avLst/>
        </a:prstGeom>
        <a:solidFill>
          <a:schemeClr val="accent2">
            <a:hueOff val="-9650458"/>
            <a:satOff val="43577"/>
            <a:lumOff val="136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pecific indexes are appropriate for high-impact queries.</a:t>
          </a:r>
          <a:endParaRPr lang="en-US" sz="2400" kern="1200" dirty="0"/>
        </a:p>
      </dsp:txBody>
      <dsp:txXfrm>
        <a:off x="3740249" y="2876687"/>
        <a:ext cx="3400226" cy="2040136"/>
      </dsp:txXfrm>
    </dsp:sp>
    <dsp:sp modelId="{7D5CE624-757B-40F4-8159-0B7EE5A0DE93}">
      <dsp:nvSpPr>
        <dsp:cNvPr id="0" name=""/>
        <dsp:cNvSpPr/>
      </dsp:nvSpPr>
      <dsp:spPr>
        <a:xfrm>
          <a:off x="7480499" y="2876687"/>
          <a:ext cx="3400226" cy="2040136"/>
        </a:xfrm>
        <a:prstGeom prst="rect">
          <a:avLst/>
        </a:prstGeom>
        <a:solidFill>
          <a:schemeClr val="accent2">
            <a:hueOff val="-12063073"/>
            <a:satOff val="54471"/>
            <a:lumOff val="170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deally the focus should be writing queries to use existing indexes, rather than on adding more indexes.</a:t>
          </a:r>
          <a:endParaRPr lang="en-US" sz="2400" kern="1200" dirty="0"/>
        </a:p>
      </dsp:txBody>
      <dsp:txXfrm>
        <a:off x="7480499" y="2876687"/>
        <a:ext cx="3400226" cy="204013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3BB9FA-3BE2-434C-99E8-DDC76578CD48}">
      <dsp:nvSpPr>
        <dsp:cNvPr id="0" name=""/>
        <dsp:cNvSpPr/>
      </dsp:nvSpPr>
      <dsp:spPr>
        <a:xfrm>
          <a:off x="53" y="13845"/>
          <a:ext cx="5084401" cy="10368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Single-column Indexing</a:t>
          </a:r>
          <a:endParaRPr lang="en-US" sz="2400" kern="1200" dirty="0"/>
        </a:p>
      </dsp:txBody>
      <dsp:txXfrm>
        <a:off x="53" y="13845"/>
        <a:ext cx="5084401" cy="1036800"/>
      </dsp:txXfrm>
    </dsp:sp>
    <dsp:sp modelId="{FE2C7C66-CDAF-4895-9759-8C87FBBD1B44}">
      <dsp:nvSpPr>
        <dsp:cNvPr id="0" name=""/>
        <dsp:cNvSpPr/>
      </dsp:nvSpPr>
      <dsp:spPr>
        <a:xfrm>
          <a:off x="53" y="1050645"/>
          <a:ext cx="5084401" cy="3755159"/>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Good choice for columns that are highly selective, or columns referenced often by criteria.</a:t>
          </a:r>
          <a:endParaRPr lang="en-US" sz="2400" kern="1200" dirty="0"/>
        </a:p>
        <a:p>
          <a:pPr marL="228600" lvl="1" indent="-228600" algn="l" defTabSz="1066800">
            <a:lnSpc>
              <a:spcPct val="90000"/>
            </a:lnSpc>
            <a:spcBef>
              <a:spcPct val="0"/>
            </a:spcBef>
            <a:spcAft>
              <a:spcPct val="15000"/>
            </a:spcAft>
            <a:buChar char="•"/>
          </a:pPr>
          <a:r>
            <a:rPr lang="en-US" sz="2400" kern="1200" dirty="0"/>
            <a:t>When filtering data from table with multiple single column indexes, SQL uses the index with higher cardinality column</a:t>
          </a:r>
          <a:r>
            <a:rPr lang="en-US" sz="2400" kern="1200" baseline="0" dirty="0"/>
            <a:t>, it may be better to not index the low cardinality column.</a:t>
          </a:r>
          <a:endParaRPr lang="en-US" sz="2400" kern="1200" dirty="0"/>
        </a:p>
      </dsp:txBody>
      <dsp:txXfrm>
        <a:off x="53" y="1050645"/>
        <a:ext cx="5084401" cy="3755159"/>
      </dsp:txXfrm>
    </dsp:sp>
    <dsp:sp modelId="{C6F2A52F-A18E-4511-AF8C-7363517072EA}">
      <dsp:nvSpPr>
        <dsp:cNvPr id="0" name=""/>
        <dsp:cNvSpPr/>
      </dsp:nvSpPr>
      <dsp:spPr>
        <a:xfrm>
          <a:off x="5796271" y="13845"/>
          <a:ext cx="5084401" cy="10368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Multi-Column Indexing</a:t>
          </a:r>
          <a:endParaRPr lang="en-US" sz="2400" kern="1200" dirty="0"/>
        </a:p>
      </dsp:txBody>
      <dsp:txXfrm>
        <a:off x="5796271" y="13845"/>
        <a:ext cx="5084401" cy="1036800"/>
      </dsp:txXfrm>
    </dsp:sp>
    <dsp:sp modelId="{0E5986F9-200B-4045-9FD8-97D9D189DAE5}">
      <dsp:nvSpPr>
        <dsp:cNvPr id="0" name=""/>
        <dsp:cNvSpPr/>
      </dsp:nvSpPr>
      <dsp:spPr>
        <a:xfrm>
          <a:off x="5796271" y="1050645"/>
          <a:ext cx="5084401" cy="3755159"/>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Good choice for low cardinality columns.</a:t>
          </a:r>
          <a:endParaRPr lang="en-US" sz="2400" kern="1200"/>
        </a:p>
        <a:p>
          <a:pPr marL="228600" lvl="1" indent="-228600" algn="l" defTabSz="1066800">
            <a:lnSpc>
              <a:spcPct val="90000"/>
            </a:lnSpc>
            <a:spcBef>
              <a:spcPct val="0"/>
            </a:spcBef>
            <a:spcAft>
              <a:spcPct val="15000"/>
            </a:spcAft>
            <a:buChar char="•"/>
          </a:pPr>
          <a:r>
            <a:rPr lang="en-US" sz="2400" kern="1200" baseline="0"/>
            <a:t>Highest cardinality field first, to zoom into a narrow range of the B-Tree as quickly as possible.</a:t>
          </a:r>
          <a:endParaRPr lang="en-US" sz="2400" kern="1200"/>
        </a:p>
        <a:p>
          <a:pPr marL="228600" lvl="1" indent="-228600" algn="l" defTabSz="1066800">
            <a:lnSpc>
              <a:spcPct val="90000"/>
            </a:lnSpc>
            <a:spcBef>
              <a:spcPct val="0"/>
            </a:spcBef>
            <a:spcAft>
              <a:spcPct val="15000"/>
            </a:spcAft>
            <a:buChar char="•"/>
          </a:pPr>
          <a:r>
            <a:rPr lang="en-US" sz="2400" kern="1200" baseline="0"/>
            <a:t>Equality columns before inequality columns.</a:t>
          </a:r>
          <a:endParaRPr lang="en-US" sz="2400" kern="1200"/>
        </a:p>
      </dsp:txBody>
      <dsp:txXfrm>
        <a:off x="5796271" y="1050645"/>
        <a:ext cx="5084401" cy="375515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F8AA3-6FA0-4755-AA6E-C5BC8AE4F574}">
      <dsp:nvSpPr>
        <dsp:cNvPr id="0" name=""/>
        <dsp:cNvSpPr/>
      </dsp:nvSpPr>
      <dsp:spPr>
        <a:xfrm>
          <a:off x="2356140" y="2333"/>
          <a:ext cx="8519956" cy="2261564"/>
        </a:xfrm>
        <a:prstGeom prst="rightArrow">
          <a:avLst>
            <a:gd name="adj1" fmla="val 75000"/>
            <a:gd name="adj2" fmla="val 50000"/>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None/>
          </a:pPr>
          <a:endParaRPr lang="en-US" sz="2000" kern="1200" dirty="0"/>
        </a:p>
        <a:p>
          <a:pPr marL="228600" lvl="1" indent="-228600" algn="l" defTabSz="889000">
            <a:lnSpc>
              <a:spcPct val="90000"/>
            </a:lnSpc>
            <a:spcBef>
              <a:spcPct val="0"/>
            </a:spcBef>
            <a:spcAft>
              <a:spcPct val="15000"/>
            </a:spcAft>
            <a:buNone/>
          </a:pPr>
          <a:r>
            <a:rPr lang="en-US" sz="2000" kern="1200" dirty="0"/>
            <a:t> </a:t>
          </a:r>
          <a:r>
            <a:rPr lang="en-US" sz="2000" kern="1200" baseline="0" dirty="0"/>
            <a:t> </a:t>
          </a:r>
          <a:endParaRPr lang="en-US" sz="2000" kern="1200" dirty="0"/>
        </a:p>
        <a:p>
          <a:pPr marL="228600" lvl="1" indent="-228600" algn="l" defTabSz="889000">
            <a:lnSpc>
              <a:spcPct val="90000"/>
            </a:lnSpc>
            <a:spcBef>
              <a:spcPct val="0"/>
            </a:spcBef>
            <a:spcAft>
              <a:spcPct val="15000"/>
            </a:spcAft>
            <a:buNone/>
          </a:pPr>
          <a:r>
            <a:rPr lang="en-US" sz="2000" kern="1200" baseline="0" dirty="0"/>
            <a:t>	</a:t>
          </a:r>
          <a:r>
            <a:rPr lang="en-US" sz="2000" kern="1200" baseline="0" dirty="0">
              <a:solidFill>
                <a:srgbClr val="0A1FE4"/>
              </a:solidFill>
            </a:rPr>
            <a:t>CREATE INDEX </a:t>
          </a:r>
          <a:r>
            <a:rPr lang="en-US" sz="2000" kern="1200" baseline="0" dirty="0"/>
            <a:t>IX1 </a:t>
          </a:r>
          <a:r>
            <a:rPr lang="en-US" sz="2000" kern="1200" baseline="0" dirty="0">
              <a:solidFill>
                <a:srgbClr val="0A1FE4"/>
              </a:solidFill>
            </a:rPr>
            <a:t>ON TABLE </a:t>
          </a:r>
          <a:r>
            <a:rPr lang="en-US" sz="2000" kern="1200" baseline="0" dirty="0"/>
            <a:t>(</a:t>
          </a:r>
          <a:r>
            <a:rPr lang="en-US" sz="2000" kern="1200" baseline="0" dirty="0" err="1"/>
            <a:t>StateID</a:t>
          </a:r>
          <a:r>
            <a:rPr lang="en-US" sz="2000" kern="1200" baseline="0" dirty="0"/>
            <a:t>, City, </a:t>
          </a:r>
          <a:r>
            <a:rPr lang="en-US" sz="2000" kern="1200" baseline="0" dirty="0" err="1"/>
            <a:t>PostalCode</a:t>
          </a:r>
          <a:r>
            <a:rPr lang="en-US" sz="2000" kern="1200" baseline="0" dirty="0"/>
            <a:t>)</a:t>
          </a:r>
          <a:endParaRPr lang="en-US" sz="2000" kern="1200" dirty="0"/>
        </a:p>
      </dsp:txBody>
      <dsp:txXfrm>
        <a:off x="2356140" y="285029"/>
        <a:ext cx="7671870" cy="1696173"/>
      </dsp:txXfrm>
    </dsp:sp>
    <dsp:sp modelId="{4ABF60CD-2ECA-4851-82A4-094AB17608A3}">
      <dsp:nvSpPr>
        <dsp:cNvPr id="0" name=""/>
        <dsp:cNvSpPr/>
      </dsp:nvSpPr>
      <dsp:spPr>
        <a:xfrm>
          <a:off x="0" y="2333"/>
          <a:ext cx="2351511" cy="226156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Seek only happens if you search for the columns in the specified order of how the B-tree is organized.</a:t>
          </a:r>
          <a:endParaRPr lang="en-US" sz="2000" kern="1200" dirty="0"/>
        </a:p>
      </dsp:txBody>
      <dsp:txXfrm>
        <a:off x="110400" y="112733"/>
        <a:ext cx="2130711" cy="2040764"/>
      </dsp:txXfrm>
    </dsp:sp>
    <dsp:sp modelId="{6155D189-BFBB-4B9F-8D31-913BF9BA760D}">
      <dsp:nvSpPr>
        <dsp:cNvPr id="0" name=""/>
        <dsp:cNvSpPr/>
      </dsp:nvSpPr>
      <dsp:spPr>
        <a:xfrm>
          <a:off x="2365169" y="2490053"/>
          <a:ext cx="8515176" cy="2327262"/>
        </a:xfrm>
        <a:prstGeom prst="rightArrow">
          <a:avLst>
            <a:gd name="adj1" fmla="val 75000"/>
            <a:gd name="adj2" fmla="val 50000"/>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solidFill>
                <a:srgbClr val="0A1FE4"/>
              </a:solidFill>
            </a:rPr>
            <a:t>WHERE</a:t>
          </a:r>
          <a:r>
            <a:rPr lang="en-US" sz="2000" kern="1200" baseline="0" dirty="0"/>
            <a:t> </a:t>
          </a:r>
          <a:r>
            <a:rPr lang="en-US" sz="2000" kern="1200" baseline="0" dirty="0" err="1"/>
            <a:t>StateID</a:t>
          </a:r>
          <a:r>
            <a:rPr lang="en-US" sz="2000" kern="1200" baseline="0" dirty="0"/>
            <a:t> = 79 </a:t>
          </a:r>
          <a:r>
            <a:rPr lang="en-US" sz="2000" kern="1200" baseline="0" dirty="0">
              <a:solidFill>
                <a:schemeClr val="accent4"/>
              </a:solidFill>
            </a:rPr>
            <a:t>-- seek</a:t>
          </a:r>
          <a:endParaRPr lang="en-US" sz="2000" kern="1200" dirty="0">
            <a:solidFill>
              <a:schemeClr val="accent4"/>
            </a:solidFill>
          </a:endParaRPr>
        </a:p>
        <a:p>
          <a:pPr marL="228600" lvl="1" indent="-228600" algn="l" defTabSz="889000">
            <a:lnSpc>
              <a:spcPct val="90000"/>
            </a:lnSpc>
            <a:spcBef>
              <a:spcPct val="0"/>
            </a:spcBef>
            <a:spcAft>
              <a:spcPct val="15000"/>
            </a:spcAft>
            <a:buChar char="•"/>
          </a:pPr>
          <a:r>
            <a:rPr lang="en-US" sz="2000" kern="1200" baseline="0" dirty="0">
              <a:solidFill>
                <a:srgbClr val="0A1FE4"/>
              </a:solidFill>
            </a:rPr>
            <a:t>WHERE</a:t>
          </a:r>
          <a:r>
            <a:rPr lang="en-US" sz="2000" kern="1200" baseline="0" dirty="0"/>
            <a:t> </a:t>
          </a:r>
          <a:r>
            <a:rPr lang="en-US" sz="2000" kern="1200" baseline="0" dirty="0" err="1"/>
            <a:t>StateID</a:t>
          </a:r>
          <a:r>
            <a:rPr lang="en-US" sz="2000" kern="1200" baseline="0" dirty="0"/>
            <a:t> = 79 </a:t>
          </a:r>
          <a:r>
            <a:rPr lang="en-US" sz="2000" kern="1200" baseline="0" dirty="0">
              <a:solidFill>
                <a:schemeClr val="accent4"/>
              </a:solidFill>
            </a:rPr>
            <a:t>– seek </a:t>
          </a:r>
          <a:r>
            <a:rPr lang="en-US" sz="2000" kern="1200" baseline="0" dirty="0">
              <a:solidFill>
                <a:schemeClr val="bg1">
                  <a:lumMod val="50000"/>
                </a:schemeClr>
              </a:solidFill>
            </a:rPr>
            <a:t>AND</a:t>
          </a:r>
          <a:r>
            <a:rPr lang="en-US" sz="2000" kern="1200" baseline="0" dirty="0"/>
            <a:t> City = Bothell </a:t>
          </a:r>
          <a:r>
            <a:rPr lang="en-US" sz="2000" kern="1200" baseline="0" dirty="0">
              <a:solidFill>
                <a:schemeClr val="accent4"/>
              </a:solidFill>
            </a:rPr>
            <a:t>-- seek</a:t>
          </a:r>
          <a:endParaRPr lang="en-US" sz="2000" kern="1200" dirty="0">
            <a:solidFill>
              <a:schemeClr val="accent4"/>
            </a:solidFill>
          </a:endParaRPr>
        </a:p>
        <a:p>
          <a:pPr marL="228600" lvl="1" indent="-228600" algn="l" defTabSz="889000">
            <a:lnSpc>
              <a:spcPct val="90000"/>
            </a:lnSpc>
            <a:spcBef>
              <a:spcPct val="0"/>
            </a:spcBef>
            <a:spcAft>
              <a:spcPct val="15000"/>
            </a:spcAft>
            <a:buChar char="•"/>
          </a:pPr>
          <a:r>
            <a:rPr lang="en-US" sz="2000" kern="1200" baseline="0" dirty="0">
              <a:solidFill>
                <a:srgbClr val="0A1FE4"/>
              </a:solidFill>
            </a:rPr>
            <a:t>WHERE</a:t>
          </a:r>
          <a:r>
            <a:rPr lang="en-US" sz="2000" kern="1200" baseline="0" dirty="0"/>
            <a:t> </a:t>
          </a:r>
          <a:r>
            <a:rPr lang="en-US" sz="2000" kern="1200" baseline="0" dirty="0" err="1"/>
            <a:t>StateID</a:t>
          </a:r>
          <a:r>
            <a:rPr lang="en-US" sz="2000" kern="1200" baseline="0" dirty="0"/>
            <a:t> = 79 </a:t>
          </a:r>
          <a:r>
            <a:rPr lang="en-US" sz="2000" kern="1200" baseline="0" dirty="0">
              <a:solidFill>
                <a:schemeClr val="bg1">
                  <a:lumMod val="50000"/>
                </a:schemeClr>
              </a:solidFill>
            </a:rPr>
            <a:t>AND</a:t>
          </a:r>
          <a:r>
            <a:rPr lang="en-US" sz="2000" kern="1200" baseline="0" dirty="0"/>
            <a:t> </a:t>
          </a:r>
          <a:r>
            <a:rPr lang="en-US" sz="2000" kern="1200" baseline="0" dirty="0" err="1"/>
            <a:t>PostalCode</a:t>
          </a:r>
          <a:r>
            <a:rPr lang="en-US" sz="2000" kern="1200" baseline="0" dirty="0"/>
            <a:t> = 98011 </a:t>
          </a:r>
          <a:r>
            <a:rPr lang="en-US" sz="2000" kern="1200" baseline="0" dirty="0">
              <a:solidFill>
                <a:schemeClr val="accent4"/>
              </a:solidFill>
            </a:rPr>
            <a:t>-- seek then scan </a:t>
          </a:r>
          <a:endParaRPr lang="en-US" sz="2000" kern="1200" dirty="0">
            <a:solidFill>
              <a:schemeClr val="accent4"/>
            </a:solidFill>
          </a:endParaRPr>
        </a:p>
        <a:p>
          <a:pPr marL="228600" lvl="1" indent="-228600" algn="l" defTabSz="889000">
            <a:lnSpc>
              <a:spcPct val="90000"/>
            </a:lnSpc>
            <a:spcBef>
              <a:spcPct val="0"/>
            </a:spcBef>
            <a:spcAft>
              <a:spcPct val="15000"/>
            </a:spcAft>
            <a:buChar char="•"/>
          </a:pPr>
          <a:r>
            <a:rPr lang="en-US" sz="2000" kern="1200" baseline="0" dirty="0">
              <a:solidFill>
                <a:srgbClr val="0A1FE4"/>
              </a:solidFill>
            </a:rPr>
            <a:t>WHERE</a:t>
          </a:r>
          <a:r>
            <a:rPr lang="en-US" sz="2000" kern="1200" baseline="0" dirty="0"/>
            <a:t> </a:t>
          </a:r>
          <a:r>
            <a:rPr lang="en-US" sz="2000" kern="1200" baseline="0" dirty="0" err="1"/>
            <a:t>PostalCode</a:t>
          </a:r>
          <a:r>
            <a:rPr lang="en-US" sz="2000" kern="1200" baseline="0" dirty="0"/>
            <a:t> = 98011 </a:t>
          </a:r>
          <a:r>
            <a:rPr lang="en-US" sz="2000" kern="1200" baseline="0" dirty="0">
              <a:solidFill>
                <a:schemeClr val="accent4"/>
              </a:solidFill>
            </a:rPr>
            <a:t>-- scan</a:t>
          </a:r>
          <a:endParaRPr lang="en-US" sz="2000" kern="1200" dirty="0">
            <a:solidFill>
              <a:schemeClr val="accent4"/>
            </a:solidFill>
          </a:endParaRPr>
        </a:p>
      </dsp:txBody>
      <dsp:txXfrm>
        <a:off x="2365169" y="2780961"/>
        <a:ext cx="7642453" cy="1745446"/>
      </dsp:txXfrm>
    </dsp:sp>
    <dsp:sp modelId="{2F27A988-C430-4343-AFC6-121B747947E2}">
      <dsp:nvSpPr>
        <dsp:cNvPr id="0" name=""/>
        <dsp:cNvSpPr/>
      </dsp:nvSpPr>
      <dsp:spPr>
        <a:xfrm>
          <a:off x="0" y="2471113"/>
          <a:ext cx="2364790" cy="2261564"/>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baseline="0" dirty="0"/>
            <a:t>Effect of column in different WHERE clause.</a:t>
          </a:r>
          <a:endParaRPr lang="en-US" sz="2000" kern="1200" dirty="0"/>
        </a:p>
      </dsp:txBody>
      <dsp:txXfrm>
        <a:off x="110400" y="2581513"/>
        <a:ext cx="2143990" cy="204076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2B1F8-B029-4B99-91A8-CE1E383A2315}">
      <dsp:nvSpPr>
        <dsp:cNvPr id="0" name=""/>
        <dsp:cNvSpPr/>
      </dsp:nvSpPr>
      <dsp:spPr>
        <a:xfrm>
          <a:off x="0" y="34951"/>
          <a:ext cx="10880726" cy="10296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ata access and distribution changes over time.</a:t>
          </a:r>
          <a:endParaRPr lang="en-US" sz="2400" kern="1200"/>
        </a:p>
      </dsp:txBody>
      <dsp:txXfrm>
        <a:off x="50261" y="85212"/>
        <a:ext cx="10780204" cy="929078"/>
      </dsp:txXfrm>
    </dsp:sp>
    <dsp:sp modelId="{E6D86303-23A1-4B21-B6BC-134290A7CEFD}">
      <dsp:nvSpPr>
        <dsp:cNvPr id="0" name=""/>
        <dsp:cNvSpPr/>
      </dsp:nvSpPr>
      <dsp:spPr>
        <a:xfrm>
          <a:off x="0" y="1222951"/>
          <a:ext cx="10880726" cy="10296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By reviewing index usage, we can ensure that the indexes are appropriate for the current workload.</a:t>
          </a:r>
          <a:endParaRPr lang="en-US" sz="2400" kern="1200"/>
        </a:p>
      </dsp:txBody>
      <dsp:txXfrm>
        <a:off x="50261" y="1273212"/>
        <a:ext cx="10780204" cy="929078"/>
      </dsp:txXfrm>
    </dsp:sp>
    <dsp:sp modelId="{26E70C0C-F5FD-49C3-8713-CCF302D4DD1F}">
      <dsp:nvSpPr>
        <dsp:cNvPr id="0" name=""/>
        <dsp:cNvSpPr/>
      </dsp:nvSpPr>
      <dsp:spPr>
        <a:xfrm>
          <a:off x="0" y="2410951"/>
          <a:ext cx="10880726" cy="10296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latin typeface="Segoe UI"/>
              <a:ea typeface="+mn-ea"/>
              <a:cs typeface="+mn-cs"/>
            </a:rPr>
            <a:t>Use</a:t>
          </a:r>
          <a:r>
            <a:rPr lang="en-US" sz="2400" kern="1200" baseline="0"/>
            <a:t> </a:t>
          </a:r>
          <a:r>
            <a:rPr lang="en-US" sz="2400" kern="1200" baseline="0">
              <a:latin typeface="Segoe UI"/>
              <a:ea typeface="+mn-ea"/>
              <a:cs typeface="+mn-cs"/>
            </a:rPr>
            <a:t>sys.dm_db_index_usage_stats </a:t>
          </a:r>
          <a:r>
            <a:rPr lang="en-US" sz="2400" kern="1200" baseline="0"/>
            <a:t>and sys.dm_db_index_operational_stats to monitor index usage.</a:t>
          </a:r>
          <a:endParaRPr lang="en-US" sz="2400" kern="1200"/>
        </a:p>
      </dsp:txBody>
      <dsp:txXfrm>
        <a:off x="50261" y="2461212"/>
        <a:ext cx="10780204" cy="929078"/>
      </dsp:txXfrm>
    </dsp:sp>
    <dsp:sp modelId="{BED7B686-B782-45EF-9B4E-6B0A8CF64E7E}">
      <dsp:nvSpPr>
        <dsp:cNvPr id="0" name=""/>
        <dsp:cNvSpPr/>
      </dsp:nvSpPr>
      <dsp:spPr>
        <a:xfrm>
          <a:off x="0" y="3598951"/>
          <a:ext cx="10880726" cy="10296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atabase standard report also monitors Index usage and Physical Statistics. </a:t>
          </a:r>
          <a:endParaRPr lang="en-US" sz="2400" kern="1200"/>
        </a:p>
      </dsp:txBody>
      <dsp:txXfrm>
        <a:off x="50261" y="3649212"/>
        <a:ext cx="10780204" cy="92907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48E8C7-E444-4263-A1C9-B0B2B5B0F6F5}">
      <dsp:nvSpPr>
        <dsp:cNvPr id="0" name=""/>
        <dsp:cNvSpPr/>
      </dsp:nvSpPr>
      <dsp:spPr>
        <a:xfrm>
          <a:off x="30" y="3495"/>
          <a:ext cx="2932260" cy="518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Logical fragmentation</a:t>
          </a:r>
        </a:p>
      </dsp:txBody>
      <dsp:txXfrm>
        <a:off x="30" y="3495"/>
        <a:ext cx="2932260" cy="518400"/>
      </dsp:txXfrm>
    </dsp:sp>
    <dsp:sp modelId="{1294CDCA-98F6-4290-B88C-348D75592B71}">
      <dsp:nvSpPr>
        <dsp:cNvPr id="0" name=""/>
        <dsp:cNvSpPr/>
      </dsp:nvSpPr>
      <dsp:spPr>
        <a:xfrm>
          <a:off x="30" y="521895"/>
          <a:ext cx="2932260" cy="3362968"/>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Occurs when leaf level pages are not physically corresponding to the logical order of the index:</a:t>
          </a:r>
        </a:p>
        <a:p>
          <a:pPr marL="342900" lvl="2" indent="-171450" algn="l" defTabSz="711200">
            <a:lnSpc>
              <a:spcPct val="90000"/>
            </a:lnSpc>
            <a:spcBef>
              <a:spcPct val="0"/>
            </a:spcBef>
            <a:spcAft>
              <a:spcPct val="15000"/>
            </a:spcAft>
            <a:buChar char="•"/>
          </a:pPr>
          <a:r>
            <a:rPr lang="en-US" sz="1600" kern="1200" dirty="0"/>
            <a:t>Pages are not in the most efficient order for scanning purposes.</a:t>
          </a:r>
        </a:p>
        <a:p>
          <a:pPr marL="171450" lvl="1" indent="-171450" algn="l" defTabSz="800100">
            <a:lnSpc>
              <a:spcPct val="90000"/>
            </a:lnSpc>
            <a:spcBef>
              <a:spcPct val="0"/>
            </a:spcBef>
            <a:spcAft>
              <a:spcPct val="15000"/>
            </a:spcAft>
            <a:buChar char="•"/>
          </a:pPr>
          <a:r>
            <a:rPr lang="en-US" sz="1800" kern="1200" dirty="0"/>
            <a:t>Limits the efficiency of read-ahead scans, but not seeks. </a:t>
          </a:r>
        </a:p>
      </dsp:txBody>
      <dsp:txXfrm>
        <a:off x="30" y="521895"/>
        <a:ext cx="2932260" cy="3362968"/>
      </dsp:txXfrm>
    </dsp:sp>
    <dsp:sp modelId="{A72987B7-8A1D-42FB-BCDB-EAC12F40525A}">
      <dsp:nvSpPr>
        <dsp:cNvPr id="0" name=""/>
        <dsp:cNvSpPr/>
      </dsp:nvSpPr>
      <dsp:spPr>
        <a:xfrm>
          <a:off x="3342807" y="3495"/>
          <a:ext cx="2932260" cy="518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Page density</a:t>
          </a:r>
        </a:p>
      </dsp:txBody>
      <dsp:txXfrm>
        <a:off x="3342807" y="3495"/>
        <a:ext cx="2932260" cy="518400"/>
      </dsp:txXfrm>
    </dsp:sp>
    <dsp:sp modelId="{140E2B44-5E9C-4F75-A163-E1514C59BD3D}">
      <dsp:nvSpPr>
        <dsp:cNvPr id="0" name=""/>
        <dsp:cNvSpPr/>
      </dsp:nvSpPr>
      <dsp:spPr>
        <a:xfrm>
          <a:off x="3342807" y="521895"/>
          <a:ext cx="2932260" cy="3362968"/>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How full a page is when a rebuild/reorganization occurs.</a:t>
          </a:r>
        </a:p>
        <a:p>
          <a:pPr marL="171450" lvl="1" indent="-171450" algn="l" defTabSz="800100">
            <a:lnSpc>
              <a:spcPct val="90000"/>
            </a:lnSpc>
            <a:spcBef>
              <a:spcPct val="0"/>
            </a:spcBef>
            <a:spcAft>
              <a:spcPct val="15000"/>
            </a:spcAft>
            <a:buChar char="•"/>
          </a:pPr>
          <a:r>
            <a:rPr lang="en-US" sz="1800" kern="1200" dirty="0"/>
            <a:t>The fuller a page is, the more likely page splits occur when data is modified.</a:t>
          </a:r>
        </a:p>
        <a:p>
          <a:pPr marL="171450" lvl="1" indent="-171450" algn="l" defTabSz="800100">
            <a:lnSpc>
              <a:spcPct val="90000"/>
            </a:lnSpc>
            <a:spcBef>
              <a:spcPct val="0"/>
            </a:spcBef>
            <a:spcAft>
              <a:spcPct val="15000"/>
            </a:spcAft>
            <a:buChar char="•"/>
          </a:pPr>
          <a:r>
            <a:rPr lang="en-US" sz="1800" kern="1200" dirty="0"/>
            <a:t>The less full a page is, the more wasted space in the buffer pool when reading pages.</a:t>
          </a:r>
        </a:p>
      </dsp:txBody>
      <dsp:txXfrm>
        <a:off x="3342807" y="521895"/>
        <a:ext cx="2932260" cy="336296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DF2FDF-2315-4A7F-B321-05793ABBFEDC}">
      <dsp:nvSpPr>
        <dsp:cNvPr id="0" name=""/>
        <dsp:cNvSpPr/>
      </dsp:nvSpPr>
      <dsp:spPr>
        <a:xfrm>
          <a:off x="53" y="9762"/>
          <a:ext cx="5084401" cy="1094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Use When</a:t>
          </a:r>
        </a:p>
      </dsp:txBody>
      <dsp:txXfrm>
        <a:off x="53" y="9762"/>
        <a:ext cx="5084401" cy="1094400"/>
      </dsp:txXfrm>
    </dsp:sp>
    <dsp:sp modelId="{E1CD9CB1-F7ED-4DB5-899B-0BB904D6A666}">
      <dsp:nvSpPr>
        <dsp:cNvPr id="0" name=""/>
        <dsp:cNvSpPr/>
      </dsp:nvSpPr>
      <dsp:spPr>
        <a:xfrm>
          <a:off x="53" y="1104163"/>
          <a:ext cx="5084401" cy="166896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Specifying the amount of free space on a data or index page.</a:t>
          </a:r>
          <a:endParaRPr lang="en-US" sz="2400" kern="1200" dirty="0"/>
        </a:p>
        <a:p>
          <a:pPr marL="228600" lvl="1" indent="-228600" algn="l" defTabSz="1066800">
            <a:lnSpc>
              <a:spcPct val="90000"/>
            </a:lnSpc>
            <a:spcBef>
              <a:spcPct val="0"/>
            </a:spcBef>
            <a:spcAft>
              <a:spcPct val="15000"/>
            </a:spcAft>
            <a:buChar char="•"/>
          </a:pPr>
          <a:r>
            <a:rPr lang="en-US" sz="2400" kern="1200" baseline="0" dirty="0"/>
            <a:t>Reducing logical fragmentation.</a:t>
          </a:r>
          <a:endParaRPr lang="en-US" sz="2400" kern="1200" dirty="0"/>
        </a:p>
      </dsp:txBody>
      <dsp:txXfrm>
        <a:off x="53" y="1104163"/>
        <a:ext cx="5084401" cy="1668960"/>
      </dsp:txXfrm>
    </dsp:sp>
    <dsp:sp modelId="{298A840C-4A90-4965-8317-4CE942FBD989}">
      <dsp:nvSpPr>
        <dsp:cNvPr id="0" name=""/>
        <dsp:cNvSpPr/>
      </dsp:nvSpPr>
      <dsp:spPr>
        <a:xfrm>
          <a:off x="5796271" y="9762"/>
          <a:ext cx="5084401" cy="10944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o not use when</a:t>
          </a:r>
          <a:endParaRPr lang="en-US" sz="2400" kern="1200" dirty="0"/>
        </a:p>
      </dsp:txBody>
      <dsp:txXfrm>
        <a:off x="5796271" y="9762"/>
        <a:ext cx="5084401" cy="1094400"/>
      </dsp:txXfrm>
    </dsp:sp>
    <dsp:sp modelId="{44FA1635-E70E-4D37-83E3-3316FEE79DEE}">
      <dsp:nvSpPr>
        <dsp:cNvPr id="0" name=""/>
        <dsp:cNvSpPr/>
      </dsp:nvSpPr>
      <dsp:spPr>
        <a:xfrm>
          <a:off x="5796271" y="1104163"/>
          <a:ext cx="5084401" cy="166896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Low fragmentation </a:t>
          </a:r>
          <a:endParaRPr lang="en-US" sz="2400" kern="1200"/>
        </a:p>
        <a:p>
          <a:pPr marL="228600" lvl="1" indent="-228600" algn="l" defTabSz="1066800">
            <a:lnSpc>
              <a:spcPct val="90000"/>
            </a:lnSpc>
            <a:spcBef>
              <a:spcPct val="0"/>
            </a:spcBef>
            <a:spcAft>
              <a:spcPct val="15000"/>
            </a:spcAft>
            <a:buChar char="•"/>
          </a:pPr>
          <a:r>
            <a:rPr lang="en-US" sz="2400" kern="1200" baseline="0"/>
            <a:t>High seeks and low scans </a:t>
          </a:r>
          <a:endParaRPr lang="en-US" sz="2400" kern="1200"/>
        </a:p>
        <a:p>
          <a:pPr marL="228600" lvl="1" indent="-228600" algn="l" defTabSz="1066800">
            <a:lnSpc>
              <a:spcPct val="90000"/>
            </a:lnSpc>
            <a:spcBef>
              <a:spcPct val="0"/>
            </a:spcBef>
            <a:spcAft>
              <a:spcPct val="15000"/>
            </a:spcAft>
            <a:buChar char="•"/>
          </a:pPr>
          <a:r>
            <a:rPr lang="en-US" sz="2400" kern="1200" baseline="0"/>
            <a:t>Index is not scanned</a:t>
          </a:r>
          <a:endParaRPr lang="en-US" sz="2400" kern="1200"/>
        </a:p>
      </dsp:txBody>
      <dsp:txXfrm>
        <a:off x="5796271" y="1104163"/>
        <a:ext cx="5084401" cy="166896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739C7F-C83F-410F-9E68-E25ECBD8D6B9}">
      <dsp:nvSpPr>
        <dsp:cNvPr id="0" name=""/>
        <dsp:cNvSpPr/>
      </dsp:nvSpPr>
      <dsp:spPr>
        <a:xfrm>
          <a:off x="0" y="15242"/>
          <a:ext cx="10545762" cy="1008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a:t>Reducing Fragmentation</a:t>
          </a:r>
          <a:endParaRPr lang="en-US" sz="2400" kern="1200"/>
        </a:p>
      </dsp:txBody>
      <dsp:txXfrm>
        <a:off x="0" y="15242"/>
        <a:ext cx="10545762" cy="1008000"/>
      </dsp:txXfrm>
    </dsp:sp>
    <dsp:sp modelId="{3DD469B6-F40B-4C62-BAE0-FFAF84D05CDB}">
      <dsp:nvSpPr>
        <dsp:cNvPr id="0" name=""/>
        <dsp:cNvSpPr/>
      </dsp:nvSpPr>
      <dsp:spPr>
        <a:xfrm>
          <a:off x="0" y="1023242"/>
          <a:ext cx="10545762" cy="196953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Using an ascending key (not always possible).</a:t>
          </a:r>
          <a:endParaRPr lang="en-US" sz="2400" kern="1200"/>
        </a:p>
        <a:p>
          <a:pPr marL="228600" lvl="1" indent="-228600" algn="l" defTabSz="1066800">
            <a:lnSpc>
              <a:spcPct val="90000"/>
            </a:lnSpc>
            <a:spcBef>
              <a:spcPct val="0"/>
            </a:spcBef>
            <a:spcAft>
              <a:spcPct val="15000"/>
            </a:spcAft>
            <a:buChar char="•"/>
          </a:pPr>
          <a:r>
            <a:rPr lang="en-US" sz="2400" kern="1200" baseline="0" dirty="0"/>
            <a:t>Using an appropriate fill factor for the workload.</a:t>
          </a:r>
          <a:endParaRPr lang="en-US" sz="2400" kern="1200" dirty="0"/>
        </a:p>
        <a:p>
          <a:pPr marL="228600" lvl="1" indent="-228600" algn="l" defTabSz="1066800">
            <a:lnSpc>
              <a:spcPct val="90000"/>
            </a:lnSpc>
            <a:spcBef>
              <a:spcPct val="0"/>
            </a:spcBef>
            <a:spcAft>
              <a:spcPct val="15000"/>
            </a:spcAft>
            <a:buChar char="•"/>
          </a:pPr>
          <a:r>
            <a:rPr lang="en-US" sz="2400" kern="1200" baseline="0"/>
            <a:t>Update in sets, rather than one at a time.</a:t>
          </a:r>
          <a:endParaRPr lang="en-US" sz="2400" kern="1200"/>
        </a:p>
        <a:p>
          <a:pPr marL="228600" lvl="1" indent="-228600" algn="l" defTabSz="1066800">
            <a:lnSpc>
              <a:spcPct val="90000"/>
            </a:lnSpc>
            <a:spcBef>
              <a:spcPct val="0"/>
            </a:spcBef>
            <a:spcAft>
              <a:spcPct val="15000"/>
            </a:spcAft>
            <a:buChar char="•"/>
          </a:pPr>
          <a:r>
            <a:rPr lang="en-US" sz="2400" kern="1200" baseline="0"/>
            <a:t>Do not insert with immediate update.</a:t>
          </a:r>
          <a:endParaRPr lang="en-US" sz="2400" kern="1200"/>
        </a:p>
      </dsp:txBody>
      <dsp:txXfrm>
        <a:off x="0" y="1023242"/>
        <a:ext cx="10545762" cy="196953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2E747-80B4-428E-87B6-E9C0786D8DD2}">
      <dsp:nvSpPr>
        <dsp:cNvPr id="0" name=""/>
        <dsp:cNvSpPr/>
      </dsp:nvSpPr>
      <dsp:spPr>
        <a:xfrm>
          <a:off x="0" y="21462"/>
          <a:ext cx="10880726" cy="5662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SQL Server identifies indexes that would help a query’s performance</a:t>
          </a:r>
          <a:endParaRPr lang="en-US" sz="2200" kern="1200"/>
        </a:p>
      </dsp:txBody>
      <dsp:txXfrm>
        <a:off x="27644" y="49106"/>
        <a:ext cx="10825438" cy="510992"/>
      </dsp:txXfrm>
    </dsp:sp>
    <dsp:sp modelId="{167455E2-0B5B-461E-A12B-4FA37292F744}">
      <dsp:nvSpPr>
        <dsp:cNvPr id="0" name=""/>
        <dsp:cNvSpPr/>
      </dsp:nvSpPr>
      <dsp:spPr>
        <a:xfrm>
          <a:off x="0" y="651102"/>
          <a:ext cx="10880726" cy="5662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The recommendation is included in the query plan</a:t>
          </a:r>
          <a:endParaRPr lang="en-US" sz="2200" kern="1200"/>
        </a:p>
      </dsp:txBody>
      <dsp:txXfrm>
        <a:off x="27644" y="678746"/>
        <a:ext cx="10825438" cy="510992"/>
      </dsp:txXfrm>
    </dsp:sp>
    <dsp:sp modelId="{B0F7C242-ADFC-411C-ADF7-95479B00B896}">
      <dsp:nvSpPr>
        <dsp:cNvPr id="0" name=""/>
        <dsp:cNvSpPr/>
      </dsp:nvSpPr>
      <dsp:spPr>
        <a:xfrm>
          <a:off x="0" y="1280743"/>
          <a:ext cx="10880726" cy="5662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baseline="0"/>
            <a:t>The cost savings are aggregated in DMVs to help identify the most beneficial indexes</a:t>
          </a:r>
          <a:endParaRPr lang="en-US" sz="2200" kern="1200"/>
        </a:p>
      </dsp:txBody>
      <dsp:txXfrm>
        <a:off x="27644" y="1308387"/>
        <a:ext cx="10825438" cy="51099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72A51A-ECBF-4B78-84E5-BADD01830D77}">
      <dsp:nvSpPr>
        <dsp:cNvPr id="0" name=""/>
        <dsp:cNvSpPr/>
      </dsp:nvSpPr>
      <dsp:spPr>
        <a:xfrm>
          <a:off x="0" y="26026"/>
          <a:ext cx="6126162" cy="15840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ollowing sources can help you choosing indexes</a:t>
          </a:r>
          <a:endParaRPr lang="en-US" sz="2400" kern="1200" dirty="0"/>
        </a:p>
      </dsp:txBody>
      <dsp:txXfrm>
        <a:off x="0" y="26026"/>
        <a:ext cx="6126162" cy="1584000"/>
      </dsp:txXfrm>
    </dsp:sp>
    <dsp:sp modelId="{60D474A3-90FA-49E3-B0D7-1F7FC6CEFF2A}">
      <dsp:nvSpPr>
        <dsp:cNvPr id="0" name=""/>
        <dsp:cNvSpPr/>
      </dsp:nvSpPr>
      <dsp:spPr>
        <a:xfrm>
          <a:off x="0" y="1537800"/>
          <a:ext cx="6126162" cy="2415599"/>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a:t>Missing Index recommendations</a:t>
          </a:r>
          <a:endParaRPr lang="en-US" sz="2400" kern="1200"/>
        </a:p>
        <a:p>
          <a:pPr marL="228600" lvl="1" indent="-228600" algn="l" defTabSz="1066800">
            <a:lnSpc>
              <a:spcPct val="90000"/>
            </a:lnSpc>
            <a:spcBef>
              <a:spcPct val="0"/>
            </a:spcBef>
            <a:spcAft>
              <a:spcPct val="15000"/>
            </a:spcAft>
            <a:buChar char="•"/>
          </a:pPr>
          <a:r>
            <a:rPr lang="en-US" sz="2400" kern="1200" baseline="0">
              <a:solidFill>
                <a:srgbClr val="107C10"/>
              </a:solidFill>
            </a:rPr>
            <a:t>sys.dm_db_index_usage_stats</a:t>
          </a:r>
          <a:endParaRPr lang="en-US" sz="2400" kern="1200">
            <a:solidFill>
              <a:srgbClr val="107C10"/>
            </a:solidFill>
          </a:endParaRPr>
        </a:p>
        <a:p>
          <a:pPr marL="228600" lvl="1" indent="-228600" algn="l" defTabSz="1066800">
            <a:lnSpc>
              <a:spcPct val="90000"/>
            </a:lnSpc>
            <a:spcBef>
              <a:spcPct val="0"/>
            </a:spcBef>
            <a:spcAft>
              <a:spcPct val="15000"/>
            </a:spcAft>
            <a:buChar char="•"/>
          </a:pPr>
          <a:r>
            <a:rPr lang="en-US" sz="2400" kern="1200" baseline="0"/>
            <a:t>Database Tuning Advisor</a:t>
          </a:r>
          <a:endParaRPr lang="en-US" sz="2400" kern="1200"/>
        </a:p>
      </dsp:txBody>
      <dsp:txXfrm>
        <a:off x="0" y="1537800"/>
        <a:ext cx="6126162" cy="24155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E6EBF-D298-4DB4-A7C3-B65BC6EDA707}">
      <dsp:nvSpPr>
        <dsp:cNvPr id="0" name=""/>
        <dsp:cNvSpPr/>
      </dsp:nvSpPr>
      <dsp:spPr>
        <a:xfrm>
          <a:off x="1037744" y="0"/>
          <a:ext cx="4373549" cy="210749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dirty="0"/>
            <a:t>A SARGable item in a search predicate is able to use an index.</a:t>
          </a:r>
          <a:endParaRPr lang="en-US" sz="3000" kern="1200" dirty="0"/>
        </a:p>
      </dsp:txBody>
      <dsp:txXfrm>
        <a:off x="1037744" y="0"/>
        <a:ext cx="4373549" cy="2107497"/>
      </dsp:txXfrm>
    </dsp:sp>
    <dsp:sp modelId="{1D82B2A2-337A-42B0-996F-DE3C71434FA6}">
      <dsp:nvSpPr>
        <dsp:cNvPr id="0" name=""/>
        <dsp:cNvSpPr/>
      </dsp:nvSpPr>
      <dsp:spPr>
        <a:xfrm>
          <a:off x="990606" y="2461625"/>
          <a:ext cx="4373549" cy="2107497"/>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a:t>Non-SARGable expressions can significantly slow down queries.</a:t>
          </a:r>
          <a:endParaRPr lang="en-US" sz="3000" kern="1200"/>
        </a:p>
      </dsp:txBody>
      <dsp:txXfrm>
        <a:off x="990606" y="2461625"/>
        <a:ext cx="4373549" cy="2107497"/>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5B29CC-C442-4A63-BD6F-946AE0D2934E}">
      <dsp:nvSpPr>
        <dsp:cNvPr id="0" name=""/>
        <dsp:cNvSpPr/>
      </dsp:nvSpPr>
      <dsp:spPr>
        <a:xfrm>
          <a:off x="270870" y="1531"/>
          <a:ext cx="5001340" cy="20178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dirty="0"/>
            <a:t>Statistics contain statistical information about distribution of values in one or more columns of a table or index. </a:t>
          </a:r>
        </a:p>
        <a:p>
          <a:pPr marL="0" lvl="0" indent="0" algn="ctr" defTabSz="977900">
            <a:lnSpc>
              <a:spcPct val="90000"/>
            </a:lnSpc>
            <a:spcBef>
              <a:spcPct val="0"/>
            </a:spcBef>
            <a:spcAft>
              <a:spcPct val="35000"/>
            </a:spcAft>
            <a:buNone/>
          </a:pPr>
          <a:r>
            <a:rPr lang="en-US" sz="2200" kern="1200" baseline="0" dirty="0"/>
            <a:t> It is stored as binary large objects (BLOBs).</a:t>
          </a:r>
          <a:endParaRPr lang="en-US" sz="2200" kern="1200" dirty="0"/>
        </a:p>
      </dsp:txBody>
      <dsp:txXfrm>
        <a:off x="270870" y="1531"/>
        <a:ext cx="5001340" cy="2017822"/>
      </dsp:txXfrm>
    </dsp:sp>
    <dsp:sp modelId="{1DF71DE3-4030-4E11-8773-A3C326979245}">
      <dsp:nvSpPr>
        <dsp:cNvPr id="0" name=""/>
        <dsp:cNvSpPr/>
      </dsp:nvSpPr>
      <dsp:spPr>
        <a:xfrm>
          <a:off x="5608514" y="1531"/>
          <a:ext cx="5001340" cy="20178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baseline="0" dirty="0"/>
            <a:t>It is used by the Query Optimizer (QO) to estimate the </a:t>
          </a:r>
          <a:r>
            <a:rPr lang="en-US" sz="2200" i="1" kern="1200" baseline="0" dirty="0"/>
            <a:t>cardinality</a:t>
          </a:r>
          <a:r>
            <a:rPr lang="en-US" sz="2200" kern="1200" baseline="0" dirty="0"/>
            <a:t>, or number of rows, in the query result, and enable the creation of high-quality query plans. </a:t>
          </a:r>
          <a:endParaRPr lang="en-US" sz="2200" kern="1200" dirty="0"/>
        </a:p>
      </dsp:txBody>
      <dsp:txXfrm>
        <a:off x="5608514" y="1531"/>
        <a:ext cx="5001340" cy="201782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4E45C3-9F4B-4075-A33C-3F6E6CBCE4FD}">
      <dsp:nvSpPr>
        <dsp:cNvPr id="0" name=""/>
        <dsp:cNvSpPr/>
      </dsp:nvSpPr>
      <dsp:spPr>
        <a:xfrm>
          <a:off x="54" y="157535"/>
          <a:ext cx="5177128" cy="6912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Density Vector</a:t>
          </a:r>
          <a:endParaRPr lang="en-US" sz="2400" kern="1200" dirty="0"/>
        </a:p>
      </dsp:txBody>
      <dsp:txXfrm>
        <a:off x="54" y="157535"/>
        <a:ext cx="5177128" cy="691200"/>
      </dsp:txXfrm>
    </dsp:sp>
    <dsp:sp modelId="{FB754CA3-94F9-4A08-867D-963B7F1E56D9}">
      <dsp:nvSpPr>
        <dsp:cNvPr id="0" name=""/>
        <dsp:cNvSpPr/>
      </dsp:nvSpPr>
      <dsp:spPr>
        <a:xfrm>
          <a:off x="54" y="848735"/>
          <a:ext cx="5177128" cy="368928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0" lvl="1" indent="0" algn="l" defTabSz="1066800">
            <a:lnSpc>
              <a:spcPct val="90000"/>
            </a:lnSpc>
            <a:spcBef>
              <a:spcPct val="0"/>
            </a:spcBef>
            <a:spcAft>
              <a:spcPct val="15000"/>
            </a:spcAft>
            <a:buNone/>
          </a:pPr>
          <a:r>
            <a:rPr lang="en-US" sz="2400" kern="1200" dirty="0"/>
            <a:t>Density is information about the number of duplicates in each column or combination of columns</a:t>
          </a:r>
        </a:p>
        <a:p>
          <a:pPr marL="0" lvl="1" indent="0" algn="l" defTabSz="1066800">
            <a:lnSpc>
              <a:spcPct val="90000"/>
            </a:lnSpc>
            <a:spcBef>
              <a:spcPct val="0"/>
            </a:spcBef>
            <a:spcAft>
              <a:spcPct val="15000"/>
            </a:spcAft>
            <a:buFont typeface="Arial" panose="020B0604020202020204" pitchFamily="34" charset="0"/>
            <a:buChar char="•"/>
          </a:pPr>
          <a:r>
            <a:rPr lang="en-US" sz="2400" kern="1200" dirty="0"/>
            <a:t>Used when query predicate contains variable</a:t>
          </a:r>
          <a:br>
            <a:rPr lang="en-US" sz="2400" kern="1200" dirty="0"/>
          </a:br>
          <a:r>
            <a:rPr lang="en-US" sz="2400" b="1" kern="1200" dirty="0"/>
            <a:t>WHERE col = @variable</a:t>
          </a:r>
          <a:br>
            <a:rPr lang="en-US" sz="2400" b="1" kern="1200" dirty="0"/>
          </a:br>
          <a:r>
            <a:rPr lang="en-US" sz="2400" kern="1200" dirty="0"/>
            <a:t>or when a stored procedure uses query on a modified parameter:</a:t>
          </a:r>
          <a:br>
            <a:rPr lang="en-US" sz="2400" kern="1200" dirty="0"/>
          </a:br>
          <a:r>
            <a:rPr lang="en-US" sz="2400" b="1" kern="1200" dirty="0"/>
            <a:t>WHERE col = @local_variable</a:t>
          </a:r>
        </a:p>
      </dsp:txBody>
      <dsp:txXfrm>
        <a:off x="54" y="848735"/>
        <a:ext cx="5177128" cy="3689280"/>
      </dsp:txXfrm>
    </dsp:sp>
    <dsp:sp modelId="{79DE4783-3917-4D36-9ED7-5F52D7B63026}">
      <dsp:nvSpPr>
        <dsp:cNvPr id="0" name=""/>
        <dsp:cNvSpPr/>
      </dsp:nvSpPr>
      <dsp:spPr>
        <a:xfrm>
          <a:off x="5901981" y="157535"/>
          <a:ext cx="5177128" cy="6912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Histogram</a:t>
          </a:r>
        </a:p>
      </dsp:txBody>
      <dsp:txXfrm>
        <a:off x="5901981" y="157535"/>
        <a:ext cx="5177128" cy="691200"/>
      </dsp:txXfrm>
    </dsp:sp>
    <dsp:sp modelId="{325BF2B6-4E2A-4571-A41C-CD04288B4D97}">
      <dsp:nvSpPr>
        <dsp:cNvPr id="0" name=""/>
        <dsp:cNvSpPr/>
      </dsp:nvSpPr>
      <dsp:spPr>
        <a:xfrm>
          <a:off x="5901981" y="848735"/>
          <a:ext cx="5177128" cy="368928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0" lvl="1" indent="0" algn="l" defTabSz="1066800">
            <a:lnSpc>
              <a:spcPct val="90000"/>
            </a:lnSpc>
            <a:spcBef>
              <a:spcPct val="0"/>
            </a:spcBef>
            <a:spcAft>
              <a:spcPct val="15000"/>
            </a:spcAft>
            <a:buNone/>
          </a:pPr>
          <a:r>
            <a:rPr lang="en-US" sz="2400" kern="1200" dirty="0"/>
            <a:t>A </a:t>
          </a:r>
          <a:r>
            <a:rPr lang="en-US" sz="2400" b="1" kern="1200" dirty="0"/>
            <a:t>histogram</a:t>
          </a:r>
          <a:r>
            <a:rPr lang="en-US" sz="2400" kern="1200" dirty="0"/>
            <a:t> measures the frequency of occurrence for each distinct value in a data set. </a:t>
          </a:r>
        </a:p>
        <a:p>
          <a:pPr marL="0" lvl="1" indent="0" algn="l" defTabSz="1066800">
            <a:lnSpc>
              <a:spcPct val="90000"/>
            </a:lnSpc>
            <a:spcBef>
              <a:spcPct val="0"/>
            </a:spcBef>
            <a:spcAft>
              <a:spcPct val="15000"/>
            </a:spcAft>
            <a:buChar char="•"/>
          </a:pPr>
          <a:r>
            <a:rPr lang="en-US" sz="2400" kern="1200" dirty="0"/>
            <a:t>Used when query predicate contains </a:t>
          </a:r>
          <a:br>
            <a:rPr lang="en-US" sz="2400" kern="1200" dirty="0"/>
          </a:br>
          <a:r>
            <a:rPr lang="en-US" sz="2400" b="1" kern="1200" dirty="0"/>
            <a:t>WHERE col = ‘literal’</a:t>
          </a:r>
          <a:br>
            <a:rPr lang="en-US" sz="2400" kern="1200" dirty="0"/>
          </a:br>
          <a:r>
            <a:rPr lang="en-US" sz="2400" kern="1200" dirty="0"/>
            <a:t>or when a stored procedure uses a query on a parameter</a:t>
          </a:r>
          <a:br>
            <a:rPr lang="en-US" sz="2400" kern="1200" dirty="0"/>
          </a:br>
          <a:r>
            <a:rPr lang="en-US" sz="2400" b="1" kern="1200" dirty="0"/>
            <a:t>WHERE col = @parameter</a:t>
          </a:r>
        </a:p>
      </dsp:txBody>
      <dsp:txXfrm>
        <a:off x="5901981" y="848735"/>
        <a:ext cx="5177128" cy="368928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F4B79-809B-48AE-AD45-C22AA49D3EA7}">
      <dsp:nvSpPr>
        <dsp:cNvPr id="0" name=""/>
        <dsp:cNvSpPr/>
      </dsp:nvSpPr>
      <dsp:spPr>
        <a:xfrm>
          <a:off x="3335" y="882635"/>
          <a:ext cx="2645882" cy="1587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TO_CREATE_STATISTICS</a:t>
          </a:r>
        </a:p>
      </dsp:txBody>
      <dsp:txXfrm>
        <a:off x="3335" y="882635"/>
        <a:ext cx="2645882" cy="1587529"/>
      </dsp:txXfrm>
    </dsp:sp>
    <dsp:sp modelId="{4809909C-BD77-416F-8445-5B217F2973BA}">
      <dsp:nvSpPr>
        <dsp:cNvPr id="0" name=""/>
        <dsp:cNvSpPr/>
      </dsp:nvSpPr>
      <dsp:spPr>
        <a:xfrm>
          <a:off x="2913805" y="882635"/>
          <a:ext cx="2645882" cy="1587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TO_UPDATE_STATISTICS</a:t>
          </a:r>
        </a:p>
      </dsp:txBody>
      <dsp:txXfrm>
        <a:off x="2913805" y="882635"/>
        <a:ext cx="2645882" cy="1587529"/>
      </dsp:txXfrm>
    </dsp:sp>
    <dsp:sp modelId="{37974224-52A4-4BFF-B9D1-6EC0B3389372}">
      <dsp:nvSpPr>
        <dsp:cNvPr id="0" name=""/>
        <dsp:cNvSpPr/>
      </dsp:nvSpPr>
      <dsp:spPr>
        <a:xfrm>
          <a:off x="5824275" y="882635"/>
          <a:ext cx="2645882" cy="1587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UTO_UPDATE_STATISTICS_ASYNC</a:t>
          </a:r>
        </a:p>
      </dsp:txBody>
      <dsp:txXfrm>
        <a:off x="5824275" y="882635"/>
        <a:ext cx="2645882" cy="1587529"/>
      </dsp:txXfrm>
    </dsp:sp>
    <dsp:sp modelId="{CCD16D16-0B29-4E4A-B287-0009D7E1E620}">
      <dsp:nvSpPr>
        <dsp:cNvPr id="0" name=""/>
        <dsp:cNvSpPr/>
      </dsp:nvSpPr>
      <dsp:spPr>
        <a:xfrm>
          <a:off x="8734745" y="882635"/>
          <a:ext cx="2645882" cy="158752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0" kern="1200" dirty="0"/>
            <a:t>INCREMENTAL</a:t>
          </a:r>
        </a:p>
      </dsp:txBody>
      <dsp:txXfrm>
        <a:off x="8734745" y="882635"/>
        <a:ext cx="2645882" cy="1587529"/>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00ABD4-B932-4EA2-80CD-46DBE18F301B}">
      <dsp:nvSpPr>
        <dsp:cNvPr id="0" name=""/>
        <dsp:cNvSpPr/>
      </dsp:nvSpPr>
      <dsp:spPr>
        <a:xfrm>
          <a:off x="943140" y="4"/>
          <a:ext cx="4194154" cy="20970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For most queries, the query optimizer generates necessary statistics for a high-quality query plan.</a:t>
          </a:r>
          <a:endParaRPr lang="en-US" sz="2400" kern="1200" dirty="0"/>
        </a:p>
      </dsp:txBody>
      <dsp:txXfrm>
        <a:off x="943140" y="4"/>
        <a:ext cx="4194154" cy="2097077"/>
      </dsp:txXfrm>
    </dsp:sp>
    <dsp:sp modelId="{DC126319-A44B-4E9A-9E49-090CB62E2E03}">
      <dsp:nvSpPr>
        <dsp:cNvPr id="0" name=""/>
        <dsp:cNvSpPr/>
      </dsp:nvSpPr>
      <dsp:spPr>
        <a:xfrm>
          <a:off x="6018067" y="4"/>
          <a:ext cx="4194154" cy="20970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 a few cases, additional statistics is needed to improve query performance.</a:t>
          </a:r>
          <a:endParaRPr lang="en-US" sz="2400" kern="1200" dirty="0"/>
        </a:p>
      </dsp:txBody>
      <dsp:txXfrm>
        <a:off x="6018067" y="4"/>
        <a:ext cx="4194154" cy="20970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BAC18E-F98D-4D88-9E1A-8E15AF4F1B34}">
      <dsp:nvSpPr>
        <dsp:cNvPr id="0" name=""/>
        <dsp:cNvSpPr/>
      </dsp:nvSpPr>
      <dsp:spPr>
        <a:xfrm>
          <a:off x="0" y="1924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Unordered masses of data</a:t>
          </a:r>
          <a:endParaRPr lang="en-US" sz="2400" kern="1200"/>
        </a:p>
      </dsp:txBody>
      <dsp:txXfrm>
        <a:off x="30157" y="49401"/>
        <a:ext cx="10820412" cy="557445"/>
      </dsp:txXfrm>
    </dsp:sp>
    <dsp:sp modelId="{6D51083E-3BDA-4C7F-A063-C569DF8ECAA6}">
      <dsp:nvSpPr>
        <dsp:cNvPr id="0" name=""/>
        <dsp:cNvSpPr/>
      </dsp:nvSpPr>
      <dsp:spPr>
        <a:xfrm>
          <a:off x="0" y="70612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Can be good for quickly importing large sets of data </a:t>
          </a:r>
          <a:endParaRPr lang="en-US" sz="2400" kern="1200"/>
        </a:p>
      </dsp:txBody>
      <dsp:txXfrm>
        <a:off x="30157" y="736281"/>
        <a:ext cx="10820412" cy="557445"/>
      </dsp:txXfrm>
    </dsp:sp>
    <dsp:sp modelId="{C5E1568C-DF25-487A-9DF0-1A7393314D27}">
      <dsp:nvSpPr>
        <dsp:cNvPr id="0" name=""/>
        <dsp:cNvSpPr/>
      </dsp:nvSpPr>
      <dsp:spPr>
        <a:xfrm>
          <a:off x="0" y="139300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Not a good idea </a:t>
          </a:r>
          <a:r>
            <a:rPr lang="en-US" sz="2400" kern="1200" baseline="0"/>
            <a:t>for reporting-based </a:t>
          </a:r>
          <a:r>
            <a:rPr lang="en-US" sz="2400" kern="1200" baseline="0" dirty="0"/>
            <a:t>data structures</a:t>
          </a:r>
          <a:endParaRPr lang="en-US" sz="2400" kern="1200" dirty="0"/>
        </a:p>
      </dsp:txBody>
      <dsp:txXfrm>
        <a:off x="30157" y="1423161"/>
        <a:ext cx="10820412" cy="557445"/>
      </dsp:txXfrm>
    </dsp:sp>
    <dsp:sp modelId="{C7CACAF1-8E2B-4142-8355-1EB9D4AFA673}">
      <dsp:nvSpPr>
        <dsp:cNvPr id="0" name=""/>
        <dsp:cNvSpPr/>
      </dsp:nvSpPr>
      <dsp:spPr>
        <a:xfrm>
          <a:off x="0" y="207988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Use the ALTER TABLE…REBUILD command to “rebuild” a heap table</a:t>
          </a:r>
          <a:endParaRPr lang="en-US" sz="2400" kern="1200"/>
        </a:p>
      </dsp:txBody>
      <dsp:txXfrm>
        <a:off x="30157" y="2110041"/>
        <a:ext cx="10820412" cy="557445"/>
      </dsp:txXfrm>
    </dsp:sp>
    <dsp:sp modelId="{4F0061D7-D698-440E-8A4A-6D559561E831}">
      <dsp:nvSpPr>
        <dsp:cNvPr id="0" name=""/>
        <dsp:cNvSpPr/>
      </dsp:nvSpPr>
      <dsp:spPr>
        <a:xfrm>
          <a:off x="0" y="2766764"/>
          <a:ext cx="10880726" cy="617759"/>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Do not use a heap </a:t>
          </a:r>
          <a:endParaRPr lang="en-US" sz="2400" kern="1200"/>
        </a:p>
      </dsp:txBody>
      <dsp:txXfrm>
        <a:off x="30157" y="2796921"/>
        <a:ext cx="10820412" cy="557445"/>
      </dsp:txXfrm>
    </dsp:sp>
    <dsp:sp modelId="{2A808A04-D311-4807-9060-D60C36113DBD}">
      <dsp:nvSpPr>
        <dsp:cNvPr id="0" name=""/>
        <dsp:cNvSpPr/>
      </dsp:nvSpPr>
      <dsp:spPr>
        <a:xfrm>
          <a:off x="0" y="3384524"/>
          <a:ext cx="10880726" cy="1415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baseline="0"/>
            <a:t>When the data is frequently returned in a sorted order.</a:t>
          </a:r>
          <a:endParaRPr lang="en-US" sz="1900" kern="1200"/>
        </a:p>
        <a:p>
          <a:pPr marL="171450" lvl="1" indent="-171450" algn="l" defTabSz="844550">
            <a:lnSpc>
              <a:spcPct val="90000"/>
            </a:lnSpc>
            <a:spcBef>
              <a:spcPct val="0"/>
            </a:spcBef>
            <a:spcAft>
              <a:spcPct val="20000"/>
            </a:spcAft>
            <a:buChar char="•"/>
          </a:pPr>
          <a:r>
            <a:rPr lang="en-US" sz="1900" kern="1200" baseline="0"/>
            <a:t>When the data is frequently grouped together.</a:t>
          </a:r>
          <a:endParaRPr lang="en-US" sz="1900" kern="1200"/>
        </a:p>
        <a:p>
          <a:pPr marL="171450" lvl="1" indent="-171450" algn="l" defTabSz="844550">
            <a:lnSpc>
              <a:spcPct val="90000"/>
            </a:lnSpc>
            <a:spcBef>
              <a:spcPct val="0"/>
            </a:spcBef>
            <a:spcAft>
              <a:spcPct val="20000"/>
            </a:spcAft>
            <a:buChar char="•"/>
          </a:pPr>
          <a:r>
            <a:rPr lang="en-US" sz="1900" kern="1200" baseline="0"/>
            <a:t>When ranges of data are frequently queried from the table.</a:t>
          </a:r>
          <a:endParaRPr lang="en-US" sz="1900" kern="1200"/>
        </a:p>
        <a:p>
          <a:pPr marL="171450" lvl="1" indent="-171450" algn="l" defTabSz="844550">
            <a:lnSpc>
              <a:spcPct val="90000"/>
            </a:lnSpc>
            <a:spcBef>
              <a:spcPct val="0"/>
            </a:spcBef>
            <a:spcAft>
              <a:spcPct val="20000"/>
            </a:spcAft>
            <a:buChar char="•"/>
          </a:pPr>
          <a:r>
            <a:rPr lang="en-US" sz="1900" kern="1200" baseline="0" dirty="0"/>
            <a:t>When there are no nonclustered indexes and the table is large.</a:t>
          </a:r>
          <a:endParaRPr lang="en-US" sz="1900" kern="1200" dirty="0"/>
        </a:p>
      </dsp:txBody>
      <dsp:txXfrm>
        <a:off x="0" y="3384524"/>
        <a:ext cx="10880726" cy="14158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4F1D5-41C2-47BF-B5FE-A18F96234B49}">
      <dsp:nvSpPr>
        <dsp:cNvPr id="0" name=""/>
        <dsp:cNvSpPr/>
      </dsp:nvSpPr>
      <dsp:spPr>
        <a:xfrm>
          <a:off x="0" y="499613"/>
          <a:ext cx="11653522" cy="98053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An ordered data structure that is implemented as a Balanced (B) Tree.</a:t>
          </a:r>
          <a:endParaRPr lang="en-US" sz="2300" kern="1200" dirty="0"/>
        </a:p>
      </dsp:txBody>
      <dsp:txXfrm>
        <a:off x="47866" y="547479"/>
        <a:ext cx="11557790" cy="884801"/>
      </dsp:txXfrm>
    </dsp:sp>
    <dsp:sp modelId="{272C75D4-FE2C-4F99-AD49-5CE01435D04E}">
      <dsp:nvSpPr>
        <dsp:cNvPr id="0" name=""/>
        <dsp:cNvSpPr/>
      </dsp:nvSpPr>
      <dsp:spPr>
        <a:xfrm>
          <a:off x="0" y="1546386"/>
          <a:ext cx="11653522" cy="98053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When a table is clustered, the leaf level of the index contains ALL data in the table. This means that the clustered index IS the table. This is also why there is only one per table.</a:t>
          </a:r>
          <a:endParaRPr lang="en-US" sz="2300" kern="1200" dirty="0"/>
        </a:p>
      </dsp:txBody>
      <dsp:txXfrm>
        <a:off x="47866" y="1594252"/>
        <a:ext cx="11557790" cy="884801"/>
      </dsp:txXfrm>
    </dsp:sp>
    <dsp:sp modelId="{1010B9F4-9CFE-405A-82DD-61C9B71DB62F}">
      <dsp:nvSpPr>
        <dsp:cNvPr id="0" name=""/>
        <dsp:cNvSpPr/>
      </dsp:nvSpPr>
      <dsp:spPr>
        <a:xfrm>
          <a:off x="0" y="2593159"/>
          <a:ext cx="11653522" cy="98053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baseline="0" dirty="0"/>
            <a:t>The leaf level of the clustered index contains data pages.</a:t>
          </a:r>
          <a:endParaRPr lang="en-US" sz="2300" kern="1200" dirty="0"/>
        </a:p>
      </dsp:txBody>
      <dsp:txXfrm>
        <a:off x="47866" y="2641025"/>
        <a:ext cx="11557790" cy="88480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23565E-6737-4AFB-A68B-160EF0C2C51A}">
      <dsp:nvSpPr>
        <dsp:cNvPr id="0" name=""/>
        <dsp:cNvSpPr/>
      </dsp:nvSpPr>
      <dsp:spPr>
        <a:xfrm>
          <a:off x="0" y="58447"/>
          <a:ext cx="11655841" cy="119369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a:t>Same B-tree data structure as a clustered index.</a:t>
          </a:r>
          <a:endParaRPr lang="en-US" sz="2800" kern="1200"/>
        </a:p>
      </dsp:txBody>
      <dsp:txXfrm>
        <a:off x="58271" y="116718"/>
        <a:ext cx="11539299" cy="1077150"/>
      </dsp:txXfrm>
    </dsp:sp>
    <dsp:sp modelId="{1880E9D0-A6DF-48ED-935E-F11C8E85D0BB}">
      <dsp:nvSpPr>
        <dsp:cNvPr id="0" name=""/>
        <dsp:cNvSpPr/>
      </dsp:nvSpPr>
      <dsp:spPr>
        <a:xfrm>
          <a:off x="0" y="1332780"/>
          <a:ext cx="11655841" cy="119369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dirty="0"/>
            <a:t>It is a separate structure built on top of a Heap or Clustered Index.</a:t>
          </a:r>
          <a:endParaRPr lang="en-US" sz="2800" kern="1200" dirty="0"/>
        </a:p>
      </dsp:txBody>
      <dsp:txXfrm>
        <a:off x="58271" y="1391051"/>
        <a:ext cx="11539299" cy="1077150"/>
      </dsp:txXfrm>
    </dsp:sp>
    <dsp:sp modelId="{DEA7FF67-A53D-40E2-8100-834C5595951E}">
      <dsp:nvSpPr>
        <dsp:cNvPr id="0" name=""/>
        <dsp:cNvSpPr/>
      </dsp:nvSpPr>
      <dsp:spPr>
        <a:xfrm>
          <a:off x="0" y="2607112"/>
          <a:ext cx="11655841" cy="119369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a:t>Only contains a subset of the columns in the base table</a:t>
          </a:r>
          <a:endParaRPr lang="en-US" sz="2800" kern="1200"/>
        </a:p>
      </dsp:txBody>
      <dsp:txXfrm>
        <a:off x="58271" y="2665383"/>
        <a:ext cx="11539299" cy="1077150"/>
      </dsp:txXfrm>
    </dsp:sp>
    <dsp:sp modelId="{8EA39431-ABE3-4904-9FF6-A2943CCFCA90}">
      <dsp:nvSpPr>
        <dsp:cNvPr id="0" name=""/>
        <dsp:cNvSpPr/>
      </dsp:nvSpPr>
      <dsp:spPr>
        <a:xfrm>
          <a:off x="0" y="3881445"/>
          <a:ext cx="11655841" cy="119369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a:t>The leaf level contains only the columns defined in the index as well as the clustered key/heap ID that points to the base table structure.</a:t>
          </a:r>
          <a:endParaRPr lang="en-US" sz="2800" kern="1200"/>
        </a:p>
      </dsp:txBody>
      <dsp:txXfrm>
        <a:off x="58271" y="3939716"/>
        <a:ext cx="11539299" cy="10771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C439F0-7215-4388-B78F-C5F398B5D290}">
      <dsp:nvSpPr>
        <dsp:cNvPr id="0" name=""/>
        <dsp:cNvSpPr/>
      </dsp:nvSpPr>
      <dsp:spPr>
        <a:xfrm>
          <a:off x="53" y="367232"/>
          <a:ext cx="5084401" cy="5184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Clustered Indexes</a:t>
          </a:r>
        </a:p>
      </dsp:txBody>
      <dsp:txXfrm>
        <a:off x="53" y="367232"/>
        <a:ext cx="5084401" cy="518400"/>
      </dsp:txXfrm>
    </dsp:sp>
    <dsp:sp modelId="{102F57DD-4402-4CEA-A704-3545DC2EB6F3}">
      <dsp:nvSpPr>
        <dsp:cNvPr id="0" name=""/>
        <dsp:cNvSpPr/>
      </dsp:nvSpPr>
      <dsp:spPr>
        <a:xfrm>
          <a:off x="53" y="885632"/>
          <a:ext cx="5084401" cy="3566784"/>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b="0" i="0" kern="1200"/>
            <a:t>Defines the order in which data is physically stored in a table.</a:t>
          </a:r>
          <a:endParaRPr lang="en-US" sz="1800" b="0" kern="1200"/>
        </a:p>
        <a:p>
          <a:pPr marL="171450" lvl="1" indent="-171450" algn="l" defTabSz="800100">
            <a:lnSpc>
              <a:spcPct val="90000"/>
            </a:lnSpc>
            <a:spcBef>
              <a:spcPct val="0"/>
            </a:spcBef>
            <a:spcAft>
              <a:spcPct val="15000"/>
            </a:spcAft>
            <a:buChar char="•"/>
          </a:pPr>
          <a:r>
            <a:rPr lang="en-US" sz="1800" b="0" i="0" kern="1200"/>
            <a:t>Table data can be sorted in only one way.</a:t>
          </a:r>
          <a:endParaRPr lang="en-US" sz="1800" b="0" kern="1200"/>
        </a:p>
        <a:p>
          <a:pPr marL="171450" lvl="1" indent="-171450" algn="l" defTabSz="800100">
            <a:lnSpc>
              <a:spcPct val="90000"/>
            </a:lnSpc>
            <a:spcBef>
              <a:spcPct val="0"/>
            </a:spcBef>
            <a:spcAft>
              <a:spcPct val="15000"/>
            </a:spcAft>
            <a:buChar char="•"/>
          </a:pPr>
          <a:r>
            <a:rPr lang="en-US" sz="1800" kern="1200"/>
            <a:t>Leaf level has data rows stored with index.</a:t>
          </a:r>
        </a:p>
        <a:p>
          <a:pPr marL="171450" lvl="1" indent="-171450" algn="l" defTabSz="800100">
            <a:lnSpc>
              <a:spcPct val="90000"/>
            </a:lnSpc>
            <a:spcBef>
              <a:spcPct val="0"/>
            </a:spcBef>
            <a:spcAft>
              <a:spcPct val="15000"/>
            </a:spcAft>
            <a:buChar char="•"/>
          </a:pPr>
          <a:r>
            <a:rPr lang="en-US" sz="1800" b="0" i="0" kern="1200"/>
            <a:t>When a table has a clustered index, the object is called  clustered table.</a:t>
          </a:r>
          <a:endParaRPr lang="en-US" sz="1800" b="0" kern="1200"/>
        </a:p>
        <a:p>
          <a:pPr marL="171450" lvl="1" indent="-171450" algn="l" defTabSz="800100">
            <a:lnSpc>
              <a:spcPct val="90000"/>
            </a:lnSpc>
            <a:spcBef>
              <a:spcPct val="0"/>
            </a:spcBef>
            <a:spcAft>
              <a:spcPct val="15000"/>
            </a:spcAft>
            <a:buChar char="•"/>
          </a:pPr>
          <a:r>
            <a:rPr lang="en-US" sz="1800" b="0" kern="1200" dirty="0"/>
            <a:t>Cluster key is added to nonclustered index (as the pointer), keep it as narrow as possible.</a:t>
          </a:r>
        </a:p>
        <a:p>
          <a:pPr marL="171450" lvl="1" indent="-171450" algn="l" defTabSz="800100">
            <a:lnSpc>
              <a:spcPct val="90000"/>
            </a:lnSpc>
            <a:spcBef>
              <a:spcPct val="0"/>
            </a:spcBef>
            <a:spcAft>
              <a:spcPct val="15000"/>
            </a:spcAft>
            <a:buChar char="•"/>
          </a:pPr>
          <a:endParaRPr lang="en-US" sz="1800" kern="1200"/>
        </a:p>
        <a:p>
          <a:pPr marL="171450" lvl="1" indent="-171450" algn="l" defTabSz="800100">
            <a:lnSpc>
              <a:spcPct val="90000"/>
            </a:lnSpc>
            <a:spcBef>
              <a:spcPct val="0"/>
            </a:spcBef>
            <a:spcAft>
              <a:spcPct val="15000"/>
            </a:spcAft>
            <a:buChar char="•"/>
          </a:pPr>
          <a:endParaRPr lang="en-US" sz="1800" kern="1200"/>
        </a:p>
      </dsp:txBody>
      <dsp:txXfrm>
        <a:off x="53" y="885632"/>
        <a:ext cx="5084401" cy="3566784"/>
      </dsp:txXfrm>
    </dsp:sp>
    <dsp:sp modelId="{FD968328-EE6F-4043-BA69-78A68911ABDE}">
      <dsp:nvSpPr>
        <dsp:cNvPr id="0" name=""/>
        <dsp:cNvSpPr/>
      </dsp:nvSpPr>
      <dsp:spPr>
        <a:xfrm>
          <a:off x="5796271" y="367232"/>
          <a:ext cx="5084401" cy="518400"/>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t>Non-clustered Indexes</a:t>
          </a:r>
        </a:p>
      </dsp:txBody>
      <dsp:txXfrm>
        <a:off x="5796271" y="367232"/>
        <a:ext cx="5084401" cy="518400"/>
      </dsp:txXfrm>
    </dsp:sp>
    <dsp:sp modelId="{ACCD3EC9-0615-499C-AF32-B696CB14CF75}">
      <dsp:nvSpPr>
        <dsp:cNvPr id="0" name=""/>
        <dsp:cNvSpPr/>
      </dsp:nvSpPr>
      <dsp:spPr>
        <a:xfrm>
          <a:off x="5796271" y="885632"/>
          <a:ext cx="5084401" cy="3566784"/>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eparate structure from base table.</a:t>
          </a:r>
        </a:p>
        <a:p>
          <a:pPr marL="171450" lvl="1" indent="-171450" algn="l" defTabSz="800100">
            <a:lnSpc>
              <a:spcPct val="90000"/>
            </a:lnSpc>
            <a:spcBef>
              <a:spcPct val="0"/>
            </a:spcBef>
            <a:spcAft>
              <a:spcPct val="15000"/>
            </a:spcAft>
            <a:buChar char="•"/>
          </a:pPr>
          <a:r>
            <a:rPr lang="en-US" sz="1800" kern="1200"/>
            <a:t>Contains a pointer </a:t>
          </a:r>
          <a:r>
            <a:rPr lang="en-US" sz="1800" u="none" kern="1200"/>
            <a:t>back to base table called:</a:t>
          </a:r>
          <a:endParaRPr lang="en-US" sz="1800" kern="1200"/>
        </a:p>
        <a:p>
          <a:pPr marL="342900" lvl="2" indent="-171450" algn="l" defTabSz="800100">
            <a:lnSpc>
              <a:spcPct val="90000"/>
            </a:lnSpc>
            <a:spcBef>
              <a:spcPct val="0"/>
            </a:spcBef>
            <a:spcAft>
              <a:spcPct val="15000"/>
            </a:spcAft>
            <a:buChar char="•"/>
          </a:pPr>
          <a:r>
            <a:rPr lang="en-US" sz="1800" b="0" i="0" u="none" kern="1200" baseline="0">
              <a:solidFill>
                <a:schemeClr val="tx1"/>
              </a:solidFill>
              <a:effectLst/>
              <a:latin typeface="+mn-lt"/>
              <a:ea typeface="+mn-ea"/>
              <a:cs typeface="+mn-cs"/>
            </a:rPr>
            <a:t>Row ID (RID when base table is HEAP)</a:t>
          </a:r>
          <a:endParaRPr lang="en-US" sz="1800" kern="1200"/>
        </a:p>
        <a:p>
          <a:pPr marL="342900" lvl="2" indent="-171450" algn="l" defTabSz="800100">
            <a:lnSpc>
              <a:spcPct val="90000"/>
            </a:lnSpc>
            <a:spcBef>
              <a:spcPct val="0"/>
            </a:spcBef>
            <a:spcAft>
              <a:spcPct val="15000"/>
            </a:spcAft>
            <a:buChar char="•"/>
          </a:pPr>
          <a:r>
            <a:rPr lang="en-US" sz="1800" b="0" i="0" u="none" kern="1200" baseline="0" dirty="0">
              <a:solidFill>
                <a:schemeClr val="tx1"/>
              </a:solidFill>
              <a:effectLst/>
              <a:latin typeface="+mn-lt"/>
              <a:ea typeface="+mn-ea"/>
              <a:cs typeface="+mn-cs"/>
            </a:rPr>
            <a:t>Key      (KEY when base table is Clustered) </a:t>
          </a:r>
          <a:endParaRPr lang="en-US" sz="1800" kern="1200" dirty="0"/>
        </a:p>
        <a:p>
          <a:pPr marL="171450" lvl="1" indent="-171450" algn="l" defTabSz="800100">
            <a:lnSpc>
              <a:spcPct val="90000"/>
            </a:lnSpc>
            <a:spcBef>
              <a:spcPct val="0"/>
            </a:spcBef>
            <a:spcAft>
              <a:spcPct val="15000"/>
            </a:spcAft>
            <a:buChar char="•"/>
          </a:pPr>
          <a:r>
            <a:rPr lang="en-US" sz="1800" kern="1200"/>
            <a:t>“Skinny” data structure as it contains a  subset of base table only.</a:t>
          </a:r>
        </a:p>
        <a:p>
          <a:pPr marL="171450" lvl="1" indent="-171450" algn="l" defTabSz="800100">
            <a:lnSpc>
              <a:spcPct val="90000"/>
            </a:lnSpc>
            <a:spcBef>
              <a:spcPct val="0"/>
            </a:spcBef>
            <a:spcAft>
              <a:spcPct val="15000"/>
            </a:spcAft>
            <a:buChar char="•"/>
          </a:pPr>
          <a:r>
            <a:rPr lang="en-US" sz="1800" kern="1200"/>
            <a:t>To by-pass index key limits (1,700 bytes) ,non-key columns can be added to leaf level. </a:t>
          </a:r>
        </a:p>
        <a:p>
          <a:pPr marL="171450" lvl="1" indent="-171450" algn="l" defTabSz="800100">
            <a:lnSpc>
              <a:spcPct val="90000"/>
            </a:lnSpc>
            <a:spcBef>
              <a:spcPct val="0"/>
            </a:spcBef>
            <a:spcAft>
              <a:spcPct val="15000"/>
            </a:spcAft>
            <a:buChar char="•"/>
          </a:pPr>
          <a:r>
            <a:rPr lang="en-US" sz="1800" kern="1200"/>
            <a:t>As Leaf level contains fewer columns than base table, the non-clustered index uses fewer pages than the corresponding base table.</a:t>
          </a:r>
          <a:endParaRPr lang="en-US" sz="1800" u="none" kern="1200"/>
        </a:p>
      </dsp:txBody>
      <dsp:txXfrm>
        <a:off x="5796271" y="885632"/>
        <a:ext cx="5084401" cy="356678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CA8411-A856-4535-A9DB-19352547C6DA}">
      <dsp:nvSpPr>
        <dsp:cNvPr id="0" name=""/>
        <dsp:cNvSpPr/>
      </dsp:nvSpPr>
      <dsp:spPr>
        <a:xfrm>
          <a:off x="0" y="108007"/>
          <a:ext cx="5284787" cy="142155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Lookup effectively join the nonclustered index back to the clustered index or heap. </a:t>
          </a:r>
          <a:endParaRPr lang="en-US" sz="2400" kern="1200" dirty="0"/>
        </a:p>
      </dsp:txBody>
      <dsp:txXfrm>
        <a:off x="69394" y="177401"/>
        <a:ext cx="5145999" cy="1282762"/>
      </dsp:txXfrm>
    </dsp:sp>
    <dsp:sp modelId="{8BBA09E5-FE57-4951-B99F-2BDF89EC6551}">
      <dsp:nvSpPr>
        <dsp:cNvPr id="0" name=""/>
        <dsp:cNvSpPr/>
      </dsp:nvSpPr>
      <dsp:spPr>
        <a:xfrm>
          <a:off x="0" y="1529557"/>
          <a:ext cx="5284787" cy="176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792"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baseline="0" dirty="0"/>
            <a:t>If table has clustered index, it is called </a:t>
          </a:r>
          <a:r>
            <a:rPr lang="en-US" sz="2100" b="1" kern="1200" baseline="0" dirty="0"/>
            <a:t>bookmark lookup</a:t>
          </a:r>
          <a:r>
            <a:rPr lang="en-US" sz="2100" kern="1200" baseline="0" dirty="0"/>
            <a:t> (or key lookup)</a:t>
          </a:r>
          <a:endParaRPr lang="en-US" sz="2100" kern="1200" dirty="0"/>
        </a:p>
        <a:p>
          <a:pPr marL="228600" lvl="1" indent="-228600" algn="l" defTabSz="933450">
            <a:lnSpc>
              <a:spcPct val="90000"/>
            </a:lnSpc>
            <a:spcBef>
              <a:spcPct val="0"/>
            </a:spcBef>
            <a:spcAft>
              <a:spcPct val="20000"/>
            </a:spcAft>
            <a:buChar char="•"/>
          </a:pPr>
          <a:r>
            <a:rPr lang="en-US" sz="2100" kern="1200" baseline="0" dirty="0"/>
            <a:t>If the table is a heap with a non-clustered index, it is called </a:t>
          </a:r>
          <a:r>
            <a:rPr lang="en-US" sz="2100" b="1" kern="1200" baseline="0" dirty="0"/>
            <a:t>RID lookup</a:t>
          </a:r>
          <a:endParaRPr lang="en-US" sz="2100" kern="1200" dirty="0"/>
        </a:p>
      </dsp:txBody>
      <dsp:txXfrm>
        <a:off x="0" y="1529557"/>
        <a:ext cx="5284787" cy="1760535"/>
      </dsp:txXfrm>
    </dsp:sp>
    <dsp:sp modelId="{1E056329-3A95-46B0-90C8-2B1FD0228165}">
      <dsp:nvSpPr>
        <dsp:cNvPr id="0" name=""/>
        <dsp:cNvSpPr/>
      </dsp:nvSpPr>
      <dsp:spPr>
        <a:xfrm>
          <a:off x="0" y="3290092"/>
          <a:ext cx="5284787" cy="142155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a:t>This is an expensive operation.</a:t>
          </a:r>
          <a:endParaRPr lang="en-US" sz="2400" kern="1200"/>
        </a:p>
      </dsp:txBody>
      <dsp:txXfrm>
        <a:off x="69394" y="3359486"/>
        <a:ext cx="5145999" cy="128276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E41B4A-DFAD-4E95-9962-2C093565E9BF}">
      <dsp:nvSpPr>
        <dsp:cNvPr id="0" name=""/>
        <dsp:cNvSpPr/>
      </dsp:nvSpPr>
      <dsp:spPr>
        <a:xfrm>
          <a:off x="4139" y="384155"/>
          <a:ext cx="2489189"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Narrow</a:t>
          </a:r>
        </a:p>
      </dsp:txBody>
      <dsp:txXfrm>
        <a:off x="4139" y="384155"/>
        <a:ext cx="2489189" cy="691200"/>
      </dsp:txXfrm>
    </dsp:sp>
    <dsp:sp modelId="{3054F010-4FBC-416B-9ABF-97AD6E9C8F0D}">
      <dsp:nvSpPr>
        <dsp:cNvPr id="0" name=""/>
        <dsp:cNvSpPr/>
      </dsp:nvSpPr>
      <dsp:spPr>
        <a:xfrm>
          <a:off x="4139" y="1075355"/>
          <a:ext cx="2489189" cy="32940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Use a data type with a small number of bytes to conserve space in tables and indexes</a:t>
          </a:r>
        </a:p>
      </dsp:txBody>
      <dsp:txXfrm>
        <a:off x="4139" y="1075355"/>
        <a:ext cx="2489189" cy="3294000"/>
      </dsp:txXfrm>
    </dsp:sp>
    <dsp:sp modelId="{763147AF-1FF9-485A-9729-4A680B954A40}">
      <dsp:nvSpPr>
        <dsp:cNvPr id="0" name=""/>
        <dsp:cNvSpPr/>
      </dsp:nvSpPr>
      <dsp:spPr>
        <a:xfrm>
          <a:off x="2841815" y="384155"/>
          <a:ext cx="2489189"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Unique</a:t>
          </a:r>
        </a:p>
      </dsp:txBody>
      <dsp:txXfrm>
        <a:off x="2841815" y="384155"/>
        <a:ext cx="2489189" cy="691200"/>
      </dsp:txXfrm>
    </dsp:sp>
    <dsp:sp modelId="{BD48AE27-377F-404D-87E4-1FBB0CF4A686}">
      <dsp:nvSpPr>
        <dsp:cNvPr id="0" name=""/>
        <dsp:cNvSpPr/>
      </dsp:nvSpPr>
      <dsp:spPr>
        <a:xfrm>
          <a:off x="2841815" y="1075355"/>
          <a:ext cx="2489189" cy="32940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To avoid SQL adding a 4-byte uniquifier</a:t>
          </a:r>
          <a:endParaRPr lang="en-US" sz="2400" kern="1200" dirty="0"/>
        </a:p>
      </dsp:txBody>
      <dsp:txXfrm>
        <a:off x="2841815" y="1075355"/>
        <a:ext cx="2489189" cy="3294000"/>
      </dsp:txXfrm>
    </dsp:sp>
    <dsp:sp modelId="{34B2FABE-8128-4E75-B0F4-F292E9EA6E19}">
      <dsp:nvSpPr>
        <dsp:cNvPr id="0" name=""/>
        <dsp:cNvSpPr/>
      </dsp:nvSpPr>
      <dsp:spPr>
        <a:xfrm>
          <a:off x="5679492" y="384155"/>
          <a:ext cx="2489189"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Static</a:t>
          </a:r>
        </a:p>
      </dsp:txBody>
      <dsp:txXfrm>
        <a:off x="5679492" y="384155"/>
        <a:ext cx="2489189" cy="691200"/>
      </dsp:txXfrm>
    </dsp:sp>
    <dsp:sp modelId="{BB2779C5-2B1E-4DDB-AC32-7413C221669E}">
      <dsp:nvSpPr>
        <dsp:cNvPr id="0" name=""/>
        <dsp:cNvSpPr/>
      </dsp:nvSpPr>
      <dsp:spPr>
        <a:xfrm>
          <a:off x="5679492" y="1075355"/>
          <a:ext cx="2489189" cy="32940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Allows data to stay constant without constant changes which could lead to page splits</a:t>
          </a:r>
          <a:endParaRPr lang="en-US" sz="2400" kern="1200" dirty="0"/>
        </a:p>
      </dsp:txBody>
      <dsp:txXfrm>
        <a:off x="5679492" y="1075355"/>
        <a:ext cx="2489189" cy="3294000"/>
      </dsp:txXfrm>
    </dsp:sp>
    <dsp:sp modelId="{6B9C340A-4C2D-4897-B4C9-C697ACEFEFF6}">
      <dsp:nvSpPr>
        <dsp:cNvPr id="0" name=""/>
        <dsp:cNvSpPr/>
      </dsp:nvSpPr>
      <dsp:spPr>
        <a:xfrm>
          <a:off x="8517168" y="384155"/>
          <a:ext cx="2489189" cy="69120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Increasing</a:t>
          </a:r>
        </a:p>
      </dsp:txBody>
      <dsp:txXfrm>
        <a:off x="8517168" y="384155"/>
        <a:ext cx="2489189" cy="691200"/>
      </dsp:txXfrm>
    </dsp:sp>
    <dsp:sp modelId="{FF30CCCE-2AE3-4D84-8D37-03DD4AB19273}">
      <dsp:nvSpPr>
        <dsp:cNvPr id="0" name=""/>
        <dsp:cNvSpPr/>
      </dsp:nvSpPr>
      <dsp:spPr>
        <a:xfrm>
          <a:off x="8517168" y="1075355"/>
          <a:ext cx="2489189" cy="3294000"/>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a:t>Allows better write performance and reduces fragmentation issues</a:t>
          </a:r>
          <a:endParaRPr lang="en-US" sz="2400" kern="1200" dirty="0"/>
        </a:p>
      </dsp:txBody>
      <dsp:txXfrm>
        <a:off x="8517168" y="1075355"/>
        <a:ext cx="2489189" cy="329400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11.08.2022</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8/11/2022</a:t>
            </a:fld>
            <a:endParaRPr lang="en-US" noProof="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cs.microsoft.com/en-us/sql/relational-databases/sql-server-index-design-guide?view=sql-server-ver15"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docs.microsoft.com/en-us/sql/relational-databases/indexes/create-indexes-with-included-columns?view=sql-server-ver15" TargetMode="External"/><Relationship Id="rId7" Type="http://schemas.openxmlformats.org/officeDocument/2006/relationships/hyperlink" Target="https://docs.microsoft.com/en-us/sql/relational-databases/indexes/clustered-and-nonclustered-indexes-described?view=sql-server-ver15"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cs.microsoft.com/en-us/sql/relational-databases/indexes/indexes?view=sql-server-ver15" TargetMode="External"/><Relationship Id="rId5" Type="http://schemas.openxmlformats.org/officeDocument/2006/relationships/hyperlink" Target="https://docs.microsoft.com/en-us/sql/relational-databases/indexes/create-unique-indexes?view=sql-server-ver15" TargetMode="External"/><Relationship Id="rId4" Type="http://schemas.openxmlformats.org/officeDocument/2006/relationships/hyperlink" Target="https://docs.microsoft.com/en-us/sql/sql-server/maximum-capacity-specifications-for-sql-server?view=sql-server-ver15"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microsoft.com/en-us/archive/blogs/josebda/sql-server-2008-indexing-best-practice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index-usage-stats-transact-sql?redirectedfrom=MSDN&amp;view=sql-server-ver15"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xtp-index-stats-transact-sql?view=sql-server-ver15"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db-index-usage-stats-transact-sql?redirectedfrom=MSDN&amp;view=sql-server-ver15"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xtp-index-stats-transact-sql?view=sql-server-ver15"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docs.microsoft.com/en-us/sql/relational-databases/system-dynamic-management-views/sys-dm-db-index-operational-stats-transact-sql?view=sql-server-ver15"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db-index-physical-stats-transact-sql?view=sql-server-ver15"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social.technet.microsoft.com/wiki/contents/articles/40339.sql-server-what-is-fragmentation.aspx"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docs.microsoft.com/en-us/sql/relational-databases/pages-and-extents-architecture-guide?view=sql-server-ver15"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social.technet.microsoft.com/wiki/contents/articles/40339.sql-server-what-is-fragmentation.aspx"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docs.microsoft.com/en-us/sql/relational-databases/pages-and-extents-architecture-guide?view=sql-server-ver15"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sql/relational-databases/reading-pages?view=sql-server-ver15"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sql/relational-databases/indexes/reorganize-and-rebuild-indexes?view=sql-server-ver15"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sql/t-sql/database-console-commands/dbcc-show-statistics-transact-sql"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sql/t-sql/statements/alter-database-transact-sql-set-options" TargetMode="External"/><Relationship Id="rId2" Type="http://schemas.openxmlformats.org/officeDocument/2006/relationships/slide" Target="../slides/slide54.xml"/><Relationship Id="rId1" Type="http://schemas.openxmlformats.org/officeDocument/2006/relationships/notesMaster" Target="../notesMasters/notesMaster1.xml"/><Relationship Id="rId4" Type="http://schemas.openxmlformats.org/officeDocument/2006/relationships/hyperlink" Target="https://docs.microsoft.com/en-us/sharepoint/administration/best-practices-for-sql-server-in-a-sharepoint-server-farm"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sql/t-sql/statements/create-statistics-transact-sql"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en.wikipedia.org/wiki/Sargabl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en.wikipedia.org/wiki/Sargabl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a:t>
            </a:fld>
            <a:endParaRPr lang="en-US" noProof="0"/>
          </a:p>
        </p:txBody>
      </p:sp>
    </p:spTree>
    <p:extLst>
      <p:ext uri="{BB962C8B-B14F-4D97-AF65-F5344CB8AC3E}">
        <p14:creationId xmlns:p14="http://schemas.microsoft.com/office/powerpoint/2010/main" val="2469323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lustered Index </a:t>
            </a:r>
          </a:p>
          <a:p>
            <a:pPr marL="171450" indent="-171450">
              <a:buFont typeface="Arial" panose="020B0604020202020204" pitchFamily="34" charset="0"/>
              <a:buChar char="•"/>
            </a:pPr>
            <a:r>
              <a:rPr lang="en-US" dirty="0"/>
              <a:t>Implemented as an Inverted Balanced (B) Tree, or B-Tree.</a:t>
            </a:r>
          </a:p>
          <a:p>
            <a:pPr lvl="2"/>
            <a:r>
              <a:rPr lang="en-US" dirty="0"/>
              <a:t>The top of the B-Tree contains the ROOT Level.</a:t>
            </a:r>
            <a:br>
              <a:rPr lang="en-US" dirty="0"/>
            </a:br>
            <a:r>
              <a:rPr lang="en-US" dirty="0"/>
              <a:t>Contains range of key values and indication of location for those key ranges.</a:t>
            </a:r>
          </a:p>
          <a:p>
            <a:pPr lvl="2"/>
            <a:r>
              <a:rPr lang="en-US" dirty="0"/>
              <a:t>Intermediate Level(s) are located below Root Level</a:t>
            </a:r>
          </a:p>
          <a:p>
            <a:pPr lvl="3"/>
            <a:r>
              <a:rPr lang="en-US" sz="2400" dirty="0"/>
              <a:t>Contain finer grain key distribution.</a:t>
            </a:r>
          </a:p>
          <a:p>
            <a:pPr lvl="4"/>
            <a:r>
              <a:rPr lang="en-US" dirty="0"/>
              <a:t>Number of Intermediate levels is proportional to Cluster Key width, and the number of rows.</a:t>
            </a:r>
          </a:p>
          <a:p>
            <a:pPr lvl="4"/>
            <a:r>
              <a:rPr lang="en-US" dirty="0"/>
              <a:t>A small Clustered Table may not have Root or Intermediate level(s).</a:t>
            </a:r>
          </a:p>
          <a:p>
            <a:pPr lvl="2"/>
            <a:r>
              <a:rPr lang="en-US" dirty="0"/>
              <a:t>Leaf Level contains the actual data pages.</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a:p>
        </p:txBody>
      </p:sp>
    </p:spTree>
    <p:extLst>
      <p:ext uri="{BB962C8B-B14F-4D97-AF65-F5344CB8AC3E}">
        <p14:creationId xmlns:p14="http://schemas.microsoft.com/office/powerpoint/2010/main" val="3253104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3</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8/11/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M05L01Demo01</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5L01Demo01\Examine_Index_MetaData.sql</a:t>
            </a:r>
          </a:p>
          <a:p>
            <a:pPr marL="0" marR="0" lvl="0" indent="0" algn="l" defTabSz="914460" rtl="0" eaLnBrk="1" fontAlgn="auto" latinLnBrk="0" hangingPunct="1">
              <a:lnSpc>
                <a:spcPct val="90000"/>
              </a:lnSpc>
              <a:spcBef>
                <a:spcPts val="333"/>
              </a:spcBef>
              <a:spcAft>
                <a:spcPts val="333"/>
              </a:spcAft>
              <a:buClrTx/>
              <a:buSzTx/>
              <a:buFontTx/>
              <a:buNone/>
              <a:tabLs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5L01Demo01\Building_a_B-Tree.sql</a:t>
            </a: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808150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NonClustered</a:t>
            </a:r>
            <a:r>
              <a:rPr lang="en-US" b="1" dirty="0"/>
              <a:t> Index</a:t>
            </a:r>
          </a:p>
          <a:p>
            <a:pPr marL="171450" indent="-171450">
              <a:buFont typeface="Arial" panose="020B0604020202020204" pitchFamily="34" charset="0"/>
              <a:buChar char="•"/>
            </a:pPr>
            <a:r>
              <a:rPr lang="en-US" dirty="0"/>
              <a:t>Same B-tree data structure as in a clustered index, except for Leaf Level.</a:t>
            </a:r>
            <a:br>
              <a:rPr lang="en-US" dirty="0"/>
            </a:br>
            <a:endParaRPr lang="en-US" dirty="0"/>
          </a:p>
          <a:p>
            <a:pPr marL="171450" indent="-171450">
              <a:buFont typeface="Arial" panose="020B0604020202020204" pitchFamily="34" charset="0"/>
              <a:buChar char="•"/>
            </a:pPr>
            <a:r>
              <a:rPr lang="en-US" dirty="0"/>
              <a:t>Non-Clustered Index Data is kept in synch with base table, but its data is stored separately.</a:t>
            </a:r>
            <a:br>
              <a:rPr lang="en-US" dirty="0"/>
            </a:br>
            <a:endParaRPr lang="en-US" dirty="0"/>
          </a:p>
          <a:p>
            <a:pPr marL="171450" indent="-171450">
              <a:buFont typeface="Arial" panose="020B0604020202020204" pitchFamily="34" charset="0"/>
              <a:buChar char="•"/>
            </a:pPr>
            <a:r>
              <a:rPr lang="en-US" dirty="0"/>
              <a:t>Contains a subset of the columns in the base table.</a:t>
            </a:r>
          </a:p>
          <a:p>
            <a:pPr lvl="2"/>
            <a:r>
              <a:rPr lang="en-US" dirty="0"/>
              <a:t>Think of it as a skinny table that is really fast for searching and sorting.</a:t>
            </a:r>
          </a:p>
          <a:p>
            <a:pPr lvl="2"/>
            <a:r>
              <a:rPr lang="en-US" dirty="0"/>
              <a:t>Most likely far fewer pages in a NC index as compared to a Clustered table.</a:t>
            </a:r>
            <a:br>
              <a:rPr lang="en-US" dirty="0"/>
            </a:br>
            <a:endParaRPr lang="en-US" dirty="0"/>
          </a:p>
          <a:p>
            <a:pPr marL="171450" indent="-171450">
              <a:buFont typeface="Arial" panose="020B0604020202020204" pitchFamily="34" charset="0"/>
              <a:buChar char="•"/>
            </a:pPr>
            <a:r>
              <a:rPr lang="en-US" dirty="0"/>
              <a:t>Leaf level contents:</a:t>
            </a:r>
          </a:p>
          <a:p>
            <a:pPr lvl="2"/>
            <a:r>
              <a:rPr lang="en-US" dirty="0"/>
              <a:t>Columns defined in the index key.</a:t>
            </a:r>
          </a:p>
          <a:p>
            <a:pPr lvl="2"/>
            <a:r>
              <a:rPr lang="en-US" dirty="0"/>
              <a:t>A ‘pointer’ to link back to the base table (to retrieve additional data).</a:t>
            </a:r>
          </a:p>
          <a:p>
            <a:pPr lvl="3"/>
            <a:r>
              <a:rPr lang="en-US" dirty="0"/>
              <a:t>clustered key for Clustered Objects</a:t>
            </a:r>
            <a:br>
              <a:rPr lang="en-US" dirty="0"/>
            </a:br>
            <a:r>
              <a:rPr lang="en-US" dirty="0"/>
              <a:t>or </a:t>
            </a:r>
          </a:p>
          <a:p>
            <a:pPr lvl="3"/>
            <a:r>
              <a:rPr lang="en-US" dirty="0"/>
              <a:t>ROW ID for heap objects</a:t>
            </a:r>
          </a:p>
          <a:p>
            <a:pPr lvl="2"/>
            <a:r>
              <a:rPr lang="en-US" dirty="0"/>
              <a:t>Any Included Columns</a:t>
            </a:r>
            <a:br>
              <a:rPr lang="en-US" dirty="0"/>
            </a:br>
            <a:endParaRPr lang="en-US" dirty="0"/>
          </a:p>
          <a:p>
            <a:pPr lvl="2"/>
            <a:r>
              <a:rPr lang="en-US" dirty="0"/>
              <a:t>As Leaf level contains fewer columns  in comparison to base table, Non-Clustered indexes have fewer pages than the corresponding base table.</a:t>
            </a:r>
          </a:p>
          <a:p>
            <a:endParaRPr lang="en-US" dirty="0"/>
          </a:p>
          <a:p>
            <a:r>
              <a:rPr lang="en-US" dirty="0"/>
              <a:t>References </a:t>
            </a:r>
            <a:r>
              <a:rPr lang="en-US" dirty="0">
                <a:hlinkClick r:id="rId3"/>
              </a:rPr>
              <a:t>https://docs.microsoft.com/en-us/sql/relational-databases/sql-server-index-design-guide?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4</a:t>
            </a:fld>
            <a:endParaRPr lang="en-US" noProof="0"/>
          </a:p>
        </p:txBody>
      </p:sp>
    </p:spTree>
    <p:extLst>
      <p:ext uri="{BB962C8B-B14F-4D97-AF65-F5344CB8AC3E}">
        <p14:creationId xmlns:p14="http://schemas.microsoft.com/office/powerpoint/2010/main" val="9097174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Clustered</a:t>
            </a:r>
          </a:p>
          <a:p>
            <a:pPr lvl="1"/>
            <a:r>
              <a:rPr lang="en-US" sz="882" b="0" i="0" kern="1200" baseline="0" dirty="0">
                <a:solidFill>
                  <a:schemeClr val="tx1"/>
                </a:solidFill>
                <a:effectLst/>
                <a:latin typeface="+mn-lt"/>
                <a:ea typeface="+mn-ea"/>
                <a:cs typeface="+mn-cs"/>
              </a:rPr>
              <a:t>Clustered indexes sort and store the data rows in the table or view based on their key values. These are the columns included in the index definition. </a:t>
            </a:r>
            <a:r>
              <a:rPr lang="en-US" sz="882" b="1" i="0" kern="1200" baseline="0" dirty="0">
                <a:solidFill>
                  <a:schemeClr val="tx1"/>
                </a:solidFill>
                <a:effectLst/>
                <a:latin typeface="+mn-lt"/>
                <a:ea typeface="+mn-ea"/>
                <a:cs typeface="+mn-cs"/>
              </a:rPr>
              <a:t>There can be only one clustered index per table, because the data rows themselves can be stored in only one order</a:t>
            </a:r>
            <a:r>
              <a:rPr lang="en-US" sz="882" b="0" i="0" kern="1200" baseline="0" dirty="0">
                <a:solidFill>
                  <a:schemeClr val="tx1"/>
                </a:solidFill>
                <a:effectLst/>
                <a:latin typeface="+mn-lt"/>
                <a:ea typeface="+mn-ea"/>
                <a:cs typeface="+mn-cs"/>
              </a:rPr>
              <a:t>.  </a:t>
            </a:r>
          </a:p>
          <a:p>
            <a:pPr lvl="1"/>
            <a:r>
              <a:rPr lang="en-US" sz="882" b="1" i="0" kern="1200" baseline="0" dirty="0">
                <a:solidFill>
                  <a:schemeClr val="tx1"/>
                </a:solidFill>
                <a:effectLst/>
                <a:latin typeface="+mn-lt"/>
                <a:ea typeface="+mn-ea"/>
                <a:cs typeface="+mn-cs"/>
              </a:rPr>
              <a:t>The only time the data rows in a table are stored in sorted order is when the table contains a clustered index. </a:t>
            </a:r>
            <a:r>
              <a:rPr lang="en-US" sz="882" b="0" i="0" kern="1200" baseline="0" dirty="0">
                <a:solidFill>
                  <a:schemeClr val="tx1"/>
                </a:solidFill>
                <a:effectLst/>
                <a:latin typeface="+mn-lt"/>
                <a:ea typeface="+mn-ea"/>
                <a:cs typeface="+mn-cs"/>
              </a:rPr>
              <a:t>When a table has a clustered index, the table is called a clustered table. If a table has no clustered index, its data rows are stored in an unordered structure called a heap.</a:t>
            </a:r>
          </a:p>
          <a:p>
            <a:r>
              <a:rPr lang="en-US" sz="882" b="1" i="0" kern="1200" baseline="0" dirty="0">
                <a:solidFill>
                  <a:schemeClr val="tx1"/>
                </a:solidFill>
                <a:effectLst/>
                <a:latin typeface="+mn-lt"/>
                <a:ea typeface="+mn-ea"/>
                <a:cs typeface="+mn-cs"/>
              </a:rPr>
              <a:t>Nonclustered</a:t>
            </a:r>
          </a:p>
          <a:p>
            <a:pPr lvl="1"/>
            <a:r>
              <a:rPr lang="en-US" sz="882" b="1" i="0" kern="1200" baseline="0" dirty="0">
                <a:solidFill>
                  <a:schemeClr val="tx1"/>
                </a:solidFill>
                <a:effectLst/>
                <a:latin typeface="+mn-lt"/>
                <a:ea typeface="+mn-ea"/>
                <a:cs typeface="+mn-cs"/>
              </a:rPr>
              <a:t>Nonclustered indexes have a structure separate from the data rows</a:t>
            </a:r>
            <a:r>
              <a:rPr lang="en-US" sz="882" b="0" i="0" kern="1200" baseline="0" dirty="0">
                <a:solidFill>
                  <a:schemeClr val="tx1"/>
                </a:solidFill>
                <a:effectLst/>
                <a:latin typeface="+mn-lt"/>
                <a:ea typeface="+mn-ea"/>
                <a:cs typeface="+mn-cs"/>
              </a:rPr>
              <a:t>. A nonclustered index contains the nonclustered index key values and </a:t>
            </a:r>
            <a:r>
              <a:rPr lang="en-US" sz="882" b="1" i="0" kern="1200" baseline="0" dirty="0">
                <a:solidFill>
                  <a:schemeClr val="tx1"/>
                </a:solidFill>
                <a:effectLst/>
                <a:latin typeface="+mn-lt"/>
                <a:ea typeface="+mn-ea"/>
                <a:cs typeface="+mn-cs"/>
              </a:rPr>
              <a:t>each key value entry has a pointer to the data row that contains the key value.</a:t>
            </a:r>
          </a:p>
          <a:p>
            <a:pPr lvl="1"/>
            <a:r>
              <a:rPr lang="en-US" sz="882" b="0" i="0" u="sng" kern="1200" baseline="0" dirty="0">
                <a:solidFill>
                  <a:schemeClr val="tx1"/>
                </a:solidFill>
                <a:effectLst/>
                <a:latin typeface="+mn-lt"/>
                <a:ea typeface="+mn-ea"/>
                <a:cs typeface="+mn-cs"/>
              </a:rPr>
              <a:t>The pointer from an index row in a nonclustered index to a data row is called a row locator</a:t>
            </a:r>
            <a:r>
              <a:rPr lang="en-US" sz="882" b="0" i="0" kern="1200" baseline="0" dirty="0">
                <a:solidFill>
                  <a:schemeClr val="tx1"/>
                </a:solidFill>
                <a:effectLst/>
                <a:latin typeface="+mn-lt"/>
                <a:ea typeface="+mn-ea"/>
                <a:cs typeface="+mn-cs"/>
              </a:rPr>
              <a:t>. The structure of the row locator depends on whether the data pages are stored in a heap or a clustered table. For a heap, a row locator is a pointer to the row. For a clustered table, the row locator is the clustered index key.</a:t>
            </a:r>
          </a:p>
          <a:p>
            <a:pPr lvl="1"/>
            <a:r>
              <a:rPr lang="en-US" sz="882" b="1" i="0" u="sng" kern="1200" baseline="0" dirty="0">
                <a:solidFill>
                  <a:schemeClr val="tx1"/>
                </a:solidFill>
                <a:effectLst/>
                <a:latin typeface="+mn-lt"/>
                <a:ea typeface="+mn-ea"/>
                <a:cs typeface="+mn-cs"/>
              </a:rPr>
              <a:t>You can add non-key columns to the leaf level of the nonclustered index to by-pass existing index key limits, and execute fully covered, indexed, queries</a:t>
            </a:r>
            <a:r>
              <a:rPr lang="en-US" sz="882" b="0" i="0" kern="1200" baseline="0" dirty="0">
                <a:solidFill>
                  <a:schemeClr val="tx1"/>
                </a:solidFill>
                <a:effectLst/>
                <a:latin typeface="+mn-lt"/>
                <a:ea typeface="+mn-ea"/>
                <a:cs typeface="+mn-cs"/>
              </a:rPr>
              <a:t>. For more information, see </a:t>
            </a:r>
            <a:r>
              <a:rPr lang="en-US" sz="882" b="0" i="0" u="sng" kern="1200" baseline="0" dirty="0">
                <a:solidFill>
                  <a:schemeClr val="tx1"/>
                </a:solidFill>
                <a:effectLst/>
                <a:latin typeface="+mn-lt"/>
                <a:ea typeface="+mn-ea"/>
                <a:cs typeface="+mn-cs"/>
                <a:hlinkClick r:id="rId3"/>
              </a:rPr>
              <a:t>Create Indexes with Included Columns</a:t>
            </a:r>
            <a:r>
              <a:rPr lang="en-US" sz="882" b="0" i="0" kern="1200" baseline="0" dirty="0">
                <a:solidFill>
                  <a:schemeClr val="tx1"/>
                </a:solidFill>
                <a:effectLst/>
                <a:latin typeface="+mn-lt"/>
                <a:ea typeface="+mn-ea"/>
                <a:cs typeface="+mn-cs"/>
              </a:rPr>
              <a:t>. For details about index key limits see </a:t>
            </a:r>
            <a:r>
              <a:rPr lang="en-US" sz="882" b="0" i="0" u="sng" kern="1200" baseline="0" dirty="0">
                <a:solidFill>
                  <a:schemeClr val="tx1"/>
                </a:solidFill>
                <a:effectLst/>
                <a:latin typeface="+mn-lt"/>
                <a:ea typeface="+mn-ea"/>
                <a:cs typeface="+mn-cs"/>
                <a:hlinkClick r:id="rId4"/>
              </a:rPr>
              <a:t>Maximum Capacity Specifications for SQL Server</a:t>
            </a:r>
            <a:r>
              <a:rPr lang="en-US" sz="882" b="0" i="0" kern="1200" baseline="0" dirty="0">
                <a:solidFill>
                  <a:schemeClr val="tx1"/>
                </a:solidFill>
                <a:effectLst/>
                <a:latin typeface="+mn-lt"/>
                <a:ea typeface="+mn-ea"/>
                <a:cs typeface="+mn-cs"/>
              </a:rPr>
              <a:t>.</a:t>
            </a:r>
          </a:p>
          <a:p>
            <a:r>
              <a:rPr lang="en-US" sz="882" b="0" i="0" kern="1200" baseline="0" dirty="0">
                <a:solidFill>
                  <a:schemeClr val="tx1"/>
                </a:solidFill>
                <a:effectLst/>
                <a:latin typeface="+mn-lt"/>
                <a:ea typeface="+mn-ea"/>
                <a:cs typeface="+mn-cs"/>
              </a:rPr>
              <a:t>Both clustered and nonclustered indexes can be unique. This means no two rows can have the same value for the index key. Otherwise, the index is not unique and multiple rows can share the same key value. For more information, see </a:t>
            </a:r>
            <a:r>
              <a:rPr lang="en-US" sz="882" b="0" i="0" u="sng" kern="1200" baseline="0" dirty="0">
                <a:solidFill>
                  <a:schemeClr val="tx1"/>
                </a:solidFill>
                <a:effectLst/>
                <a:latin typeface="+mn-lt"/>
                <a:ea typeface="+mn-ea"/>
                <a:cs typeface="+mn-cs"/>
                <a:hlinkClick r:id="rId5"/>
              </a:rPr>
              <a:t>Create Unique Indexes</a:t>
            </a:r>
            <a:r>
              <a:rPr lang="en-US" sz="882" b="0" i="0" kern="1200" baseline="0" dirty="0">
                <a:solidFill>
                  <a:schemeClr val="tx1"/>
                </a:solidFill>
                <a:effectLst/>
                <a:latin typeface="+mn-lt"/>
                <a:ea typeface="+mn-ea"/>
                <a:cs typeface="+mn-cs"/>
              </a:rPr>
              <a:t>.</a:t>
            </a:r>
          </a:p>
          <a:p>
            <a:r>
              <a:rPr lang="en-US" sz="882" b="0" i="0" kern="1200" baseline="0" dirty="0">
                <a:solidFill>
                  <a:schemeClr val="tx1"/>
                </a:solidFill>
                <a:effectLst/>
                <a:latin typeface="+mn-lt"/>
                <a:ea typeface="+mn-ea"/>
                <a:cs typeface="+mn-cs"/>
              </a:rPr>
              <a:t>Indexes are automatically maintained for a table or view whenever the table data is modified.</a:t>
            </a:r>
          </a:p>
          <a:p>
            <a:r>
              <a:rPr lang="en-US" sz="882" b="0" i="0" kern="1200" baseline="0" dirty="0">
                <a:solidFill>
                  <a:schemeClr val="tx1"/>
                </a:solidFill>
                <a:effectLst/>
                <a:latin typeface="+mn-lt"/>
                <a:ea typeface="+mn-ea"/>
                <a:cs typeface="+mn-cs"/>
              </a:rPr>
              <a:t>See </a:t>
            </a:r>
            <a:r>
              <a:rPr lang="en-US" sz="882" b="0" i="0" u="sng" kern="1200" baseline="0" dirty="0">
                <a:solidFill>
                  <a:schemeClr val="tx1"/>
                </a:solidFill>
                <a:effectLst/>
                <a:latin typeface="+mn-lt"/>
                <a:ea typeface="+mn-ea"/>
                <a:cs typeface="+mn-cs"/>
                <a:hlinkClick r:id="rId6"/>
              </a:rPr>
              <a:t>Indexes</a:t>
            </a:r>
            <a:r>
              <a:rPr lang="en-US" sz="882" b="0" i="0" kern="1200" baseline="0" dirty="0">
                <a:solidFill>
                  <a:schemeClr val="tx1"/>
                </a:solidFill>
                <a:effectLst/>
                <a:latin typeface="+mn-lt"/>
                <a:ea typeface="+mn-ea"/>
                <a:cs typeface="+mn-cs"/>
              </a:rPr>
              <a:t> for additional types of special purpose indexes.</a:t>
            </a:r>
            <a:endParaRPr lang="en-US" dirty="0"/>
          </a:p>
          <a:p>
            <a:endParaRPr lang="en-US" dirty="0"/>
          </a:p>
          <a:p>
            <a:r>
              <a:rPr lang="en-US" dirty="0"/>
              <a:t>References : </a:t>
            </a:r>
            <a:r>
              <a:rPr lang="en-US" dirty="0">
                <a:hlinkClick r:id="rId7"/>
              </a:rPr>
              <a:t>https://docs.microsoft.com/en-us/sql/relational-databases/indexes/clustered-and-nonclustered-indexes-described?view=sql-server-ver15</a:t>
            </a:r>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6</a:t>
            </a:fld>
            <a:endParaRPr lang="en-US" noProof="0"/>
          </a:p>
        </p:txBody>
      </p:sp>
    </p:spTree>
    <p:extLst>
      <p:ext uri="{BB962C8B-B14F-4D97-AF65-F5344CB8AC3E}">
        <p14:creationId xmlns:p14="http://schemas.microsoft.com/office/powerpoint/2010/main" val="2226214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7</a:t>
            </a:fld>
            <a:endParaRPr lang="en-US" noProof="0"/>
          </a:p>
        </p:txBody>
      </p:sp>
    </p:spTree>
    <p:extLst>
      <p:ext uri="{BB962C8B-B14F-4D97-AF65-F5344CB8AC3E}">
        <p14:creationId xmlns:p14="http://schemas.microsoft.com/office/powerpoint/2010/main" val="23664251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8</a:t>
            </a:fld>
            <a:endParaRPr lang="en-US" noProof="0"/>
          </a:p>
        </p:txBody>
      </p:sp>
    </p:spTree>
    <p:extLst>
      <p:ext uri="{BB962C8B-B14F-4D97-AF65-F5344CB8AC3E}">
        <p14:creationId xmlns:p14="http://schemas.microsoft.com/office/powerpoint/2010/main" val="4149310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438912" lvl="1" indent="-228600"/>
            <a:r>
              <a:rPr lang="en-US" dirty="0"/>
              <a:t>When</a:t>
            </a:r>
            <a:r>
              <a:rPr lang="en-US" baseline="0" dirty="0"/>
              <a:t> nonclustered indexes are used, SQL Server may choose to use a different access method. </a:t>
            </a:r>
          </a:p>
          <a:p>
            <a:pPr marL="438912" lvl="1" indent="-228600"/>
            <a:r>
              <a:rPr lang="en-US" baseline="0" dirty="0"/>
              <a:t>When the nonclustered index is sought or scanned, it</a:t>
            </a:r>
            <a:r>
              <a:rPr lang="en-US" dirty="0"/>
              <a:t> i</a:t>
            </a:r>
            <a:r>
              <a:rPr lang="en-US" baseline="0" dirty="0"/>
              <a:t>s doing so to support WHERE clauses and JOINs.</a:t>
            </a:r>
          </a:p>
          <a:p>
            <a:pPr marL="438912" lvl="1" indent="-228600"/>
            <a:r>
              <a:rPr lang="en-US" baseline="0" dirty="0"/>
              <a:t>However, the </a:t>
            </a:r>
            <a:r>
              <a:rPr lang="en-US" dirty="0"/>
              <a:t>nonclustered index </a:t>
            </a:r>
            <a:r>
              <a:rPr lang="en-US" baseline="0" dirty="0"/>
              <a:t>often cannot support the SELECT clause hence need to join with base table. </a:t>
            </a:r>
          </a:p>
          <a:p>
            <a:pPr marL="438912" lvl="1" indent="-228600"/>
            <a:r>
              <a:rPr lang="en-US" baseline="0" dirty="0"/>
              <a:t>To put it another way, it cannot ‘cover’ the query.  </a:t>
            </a:r>
          </a:p>
          <a:p>
            <a:r>
              <a:rPr lang="en-US" dirty="0"/>
              <a:t>=============</a:t>
            </a:r>
          </a:p>
          <a:p>
            <a:r>
              <a:rPr lang="en-US" b="1" dirty="0"/>
              <a:t>More Information</a:t>
            </a:r>
          </a:p>
          <a:p>
            <a:r>
              <a:rPr lang="en-US" dirty="0"/>
              <a:t>=============</a:t>
            </a:r>
          </a:p>
          <a:p>
            <a:endParaRPr lang="en-US" baseline="0" dirty="0"/>
          </a:p>
          <a:p>
            <a:pPr marL="171450" indent="-171450">
              <a:buFont typeface="Arial" panose="020B0604020202020204" pitchFamily="34" charset="0"/>
              <a:buChar char="•"/>
            </a:pPr>
            <a:r>
              <a:rPr lang="en-US" b="1" baseline="0" dirty="0"/>
              <a:t>To get the columns needed for the select clause, SQL Server needs to look up those additional columns using a Key Lookup, which reaches back to the clustered index or heap</a:t>
            </a:r>
            <a:r>
              <a:rPr lang="en-US" baseline="0" dirty="0"/>
              <a:t>. </a:t>
            </a:r>
          </a:p>
          <a:p>
            <a:pPr marL="171450" indent="-171450">
              <a:buFont typeface="Arial" panose="020B0604020202020204" pitchFamily="34" charset="0"/>
              <a:buChar char="•"/>
            </a:pPr>
            <a:r>
              <a:rPr lang="en-US" baseline="0" dirty="0"/>
              <a:t>This is possible because each row in the nonclustered index has not only the columns that were defined, but </a:t>
            </a:r>
            <a:r>
              <a:rPr lang="en-US" b="1" baseline="0" dirty="0"/>
              <a:t>also includes the clustering key or RID.  </a:t>
            </a:r>
          </a:p>
          <a:p>
            <a:pPr marL="171450" indent="-171450">
              <a:buFont typeface="Arial" panose="020B0604020202020204" pitchFamily="34" charset="0"/>
              <a:buChar char="•"/>
            </a:pPr>
            <a:r>
              <a:rPr lang="en-US" b="1" baseline="0" dirty="0"/>
              <a:t>When the </a:t>
            </a:r>
            <a:r>
              <a:rPr lang="en-US" b="1" dirty="0"/>
              <a:t>nonclustered index </a:t>
            </a:r>
            <a:r>
              <a:rPr lang="en-US" b="1" baseline="0" dirty="0"/>
              <a:t>seek/scan finds the rows that match the filter requested, it loops over each of the rows, gets the hidden key/RID, and gets the additional columns needed</a:t>
            </a:r>
            <a:r>
              <a:rPr lang="en-US" baseline="0" dirty="0"/>
              <a:t>.</a:t>
            </a:r>
          </a:p>
          <a:p>
            <a:pPr marL="171450" indent="-171450">
              <a:buFont typeface="Arial" panose="020B0604020202020204" pitchFamily="34" charset="0"/>
              <a:buChar char="•"/>
            </a:pPr>
            <a:r>
              <a:rPr lang="en-US" b="1" baseline="0" dirty="0"/>
              <a:t>Key lookups are costly. </a:t>
            </a:r>
            <a:r>
              <a:rPr lang="en-US" baseline="0" dirty="0"/>
              <a:t>In fact, they</a:t>
            </a:r>
            <a:r>
              <a:rPr lang="en-US" dirty="0"/>
              <a:t> a</a:t>
            </a:r>
            <a:r>
              <a:rPr lang="en-US" baseline="0" dirty="0"/>
              <a:t>re so costly that SQL Server frequently decides that the cost of a </a:t>
            </a:r>
            <a:r>
              <a:rPr lang="en-US" dirty="0"/>
              <a:t>nonclustered index </a:t>
            </a:r>
            <a:r>
              <a:rPr lang="en-US" baseline="0" dirty="0"/>
              <a:t>seek + lookup is higher than simply scanning the clustered index.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dirty="0"/>
              <a:t>To improve Query performance </a:t>
            </a:r>
            <a:r>
              <a:rPr lang="en-US" dirty="0"/>
              <a:t>one must  remove the lookup from the Execution plan.</a:t>
            </a:r>
          </a:p>
          <a:p>
            <a:endParaRPr lang="en-US" baseline="0" dirty="0"/>
          </a:p>
          <a:p>
            <a:endParaRPr lang="en-US" baseline="0" dirty="0"/>
          </a:p>
          <a:p>
            <a:r>
              <a:rPr lang="en-US" b="1" u="sng" baseline="0" dirty="0"/>
              <a:t>The ‘tipping point’ that determines when SQL Server will scan is pretty low, and is typically 10%</a:t>
            </a:r>
            <a:r>
              <a:rPr lang="en-US" b="0" u="none" baseline="0" dirty="0"/>
              <a:t>.</a:t>
            </a:r>
          </a:p>
          <a:p>
            <a:endParaRPr lang="en-US" baseline="0" dirty="0"/>
          </a:p>
          <a:p>
            <a:r>
              <a:rPr lang="en-US" dirty="0"/>
              <a:t>T</a:t>
            </a:r>
            <a:r>
              <a:rPr lang="en-US" baseline="0" dirty="0"/>
              <a:t>herefore, avoiding key lookups is often a good way to help query performance. The next lesson, </a:t>
            </a:r>
            <a:r>
              <a:rPr lang="en-US" dirty="0"/>
              <a:t>“I</a:t>
            </a:r>
            <a:r>
              <a:rPr lang="en-US" baseline="0" dirty="0"/>
              <a:t>ndexing </a:t>
            </a:r>
            <a:r>
              <a:rPr lang="en-US" dirty="0"/>
              <a:t>S</a:t>
            </a:r>
            <a:r>
              <a:rPr lang="en-US" baseline="0" dirty="0"/>
              <a:t>trategy”, discusses ways that this can be done.</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9</a:t>
            </a:fld>
            <a:endParaRPr lang="en-US" noProof="0"/>
          </a:p>
        </p:txBody>
      </p:sp>
    </p:spTree>
    <p:extLst>
      <p:ext uri="{BB962C8B-B14F-4D97-AF65-F5344CB8AC3E}">
        <p14:creationId xmlns:p14="http://schemas.microsoft.com/office/powerpoint/2010/main" val="469493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0</a:t>
            </a:fld>
            <a:endParaRPr lang="en-US"/>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8/11/2022</a:t>
            </a:fld>
            <a:endParaRPr lang="en-US"/>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882" noProof="1">
                <a:solidFill>
                  <a:prstClr val="black"/>
                </a:solidFill>
                <a:latin typeface="Segoe UI Light" pitchFamily="34" charset="0"/>
              </a:rPr>
              <a:t>M05L01Demo02</a:t>
            </a: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M05L01Demo02\AccessMethods.sql</a:t>
            </a:r>
          </a:p>
          <a:p>
            <a:pPr lvl="0" defTabSz="914460">
              <a:lnSpc>
                <a:spcPct val="90000"/>
              </a:lnSpc>
              <a:spcAft>
                <a:spcPts val="333"/>
              </a:spcAft>
            </a:pPr>
            <a:endParaRPr lang="en-US" sz="882" dirty="0">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50267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21</a:t>
            </a:fld>
            <a:endParaRPr lang="en-US"/>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8/11/2022</a:t>
            </a:fld>
            <a:endParaRPr lang="en-US"/>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4814905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a:p>
        </p:txBody>
      </p:sp>
    </p:spTree>
    <p:extLst>
      <p:ext uri="{BB962C8B-B14F-4D97-AF65-F5344CB8AC3E}">
        <p14:creationId xmlns:p14="http://schemas.microsoft.com/office/powerpoint/2010/main" val="2353752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a:t>
            </a:fld>
            <a:endParaRPr lang="en-US" noProof="0"/>
          </a:p>
        </p:txBody>
      </p:sp>
    </p:spTree>
    <p:extLst>
      <p:ext uri="{BB962C8B-B14F-4D97-AF65-F5344CB8AC3E}">
        <p14:creationId xmlns:p14="http://schemas.microsoft.com/office/powerpoint/2010/main" val="19623874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2260221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Notes:</a:t>
            </a:r>
          </a:p>
          <a:p>
            <a:pPr marL="171450" indent="-171450">
              <a:buFont typeface="Arial" panose="020B0604020202020204" pitchFamily="34" charset="0"/>
              <a:buChar char="•"/>
            </a:pPr>
            <a:r>
              <a:rPr lang="en-US" dirty="0"/>
              <a:t>The primary goal of any indexing strategy is to make queries faster.</a:t>
            </a:r>
          </a:p>
          <a:p>
            <a:pPr marL="171450" indent="-171450">
              <a:buFont typeface="Arial" panose="020B0604020202020204" pitchFamily="34" charset="0"/>
              <a:buChar char="•"/>
            </a:pPr>
            <a:r>
              <a:rPr lang="en-US" dirty="0"/>
              <a:t>Indexes should be present on columns that support the following operations:</a:t>
            </a:r>
          </a:p>
          <a:p>
            <a:pPr lvl="1"/>
            <a:r>
              <a:rPr lang="en-US" dirty="0"/>
              <a:t>Joins</a:t>
            </a:r>
          </a:p>
          <a:p>
            <a:pPr lvl="1"/>
            <a:r>
              <a:rPr lang="en-US" dirty="0"/>
              <a:t>Filtering in the WHERE clause</a:t>
            </a:r>
          </a:p>
          <a:p>
            <a:pPr lvl="1"/>
            <a:r>
              <a:rPr lang="en-US" dirty="0"/>
              <a:t>The ORDER BY clause</a:t>
            </a:r>
          </a:p>
          <a:p>
            <a:endParaRPr lang="en-US" dirty="0"/>
          </a:p>
          <a:p>
            <a:r>
              <a:rPr lang="en-US" dirty="0"/>
              <a:t>=============</a:t>
            </a:r>
          </a:p>
          <a:p>
            <a:r>
              <a:rPr lang="en-US" b="1" dirty="0"/>
              <a:t>More Information</a:t>
            </a:r>
          </a:p>
          <a:p>
            <a:r>
              <a:rPr lang="en-US" dirty="0"/>
              <a:t>=============</a:t>
            </a:r>
          </a:p>
          <a:p>
            <a:endParaRPr lang="en-US" dirty="0"/>
          </a:p>
          <a:p>
            <a:r>
              <a:rPr lang="en-US" dirty="0"/>
              <a:t>This lesson on indexing strategy is, ultimately, about ways in which indexes can be optimized to ensure that logical reads are minimized, and that those reads are sequential rather than random. The techniques discussed are varied, so it is important to keep these goals in mind.</a:t>
            </a:r>
          </a:p>
          <a:p>
            <a:endParaRPr lang="en-US" dirty="0"/>
          </a:p>
          <a:p>
            <a:r>
              <a:rPr lang="en-US" b="1" dirty="0"/>
              <a:t>Best practices for clustered indexes </a:t>
            </a:r>
            <a:r>
              <a:rPr lang="en-US" dirty="0"/>
              <a:t>all support the primary or secondary goals of indexing.  </a:t>
            </a:r>
          </a:p>
          <a:p>
            <a:endParaRPr lang="en-US" dirty="0"/>
          </a:p>
          <a:p>
            <a:r>
              <a:rPr lang="en-US" dirty="0"/>
              <a:t>The </a:t>
            </a:r>
            <a:r>
              <a:rPr lang="en-US" b="1" dirty="0"/>
              <a:t>most critical aspect of clustered index</a:t>
            </a:r>
            <a:r>
              <a:rPr lang="en-US" b="1" baseline="0" dirty="0"/>
              <a:t> design </a:t>
            </a:r>
            <a:r>
              <a:rPr lang="en-US" baseline="0" dirty="0"/>
              <a:t>is to </a:t>
            </a:r>
            <a:r>
              <a:rPr lang="en-US" u="sng" baseline="0" dirty="0"/>
              <a:t>select a column that is the most frequently searched for specific values</a:t>
            </a:r>
            <a:r>
              <a:rPr lang="en-US" u="none" baseline="0" dirty="0"/>
              <a:t>. </a:t>
            </a:r>
            <a:r>
              <a:rPr lang="en-US" baseline="0" dirty="0"/>
              <a:t>By doing so, you help ensure that the most common column used to access the table is how the data is sorted, which avoids key lookups and helps ensure that scans will not be needed.  </a:t>
            </a:r>
          </a:p>
          <a:p>
            <a:r>
              <a:rPr lang="en-US" b="1" baseline="0" dirty="0"/>
              <a:t>Remember that joins are a common way to search for specific values.  </a:t>
            </a:r>
          </a:p>
          <a:p>
            <a:endParaRPr lang="en-US" baseline="0" dirty="0"/>
          </a:p>
          <a:p>
            <a:r>
              <a:rPr lang="en-US" b="1" baseline="0" dirty="0"/>
              <a:t>Use narrow keys to ensure that </a:t>
            </a:r>
            <a:r>
              <a:rPr lang="en-US" b="1" dirty="0"/>
              <a:t>B</a:t>
            </a:r>
            <a:r>
              <a:rPr lang="en-US" b="1" baseline="0" dirty="0"/>
              <a:t>-trees have as few intermediate levels as possible</a:t>
            </a:r>
            <a:r>
              <a:rPr lang="en-US" baseline="0" dirty="0"/>
              <a:t>. </a:t>
            </a:r>
            <a:r>
              <a:rPr lang="en-US" u="sng" baseline="0" dirty="0"/>
              <a:t>This speeds up seeks by reducing the levels of the B-tree that need to be traversed</a:t>
            </a:r>
            <a:r>
              <a:rPr lang="en-US" baseline="0" dirty="0"/>
              <a:t>. This also helps nonclustered index seeks, </a:t>
            </a:r>
            <a:r>
              <a:rPr lang="en-US" dirty="0"/>
              <a:t>because </a:t>
            </a:r>
            <a:r>
              <a:rPr lang="en-US" baseline="0" dirty="0"/>
              <a:t>the clustering key is embedded in the nonclustered index. Another benefit of a narrow clustering key is that the leaf level of nonclustered indexes will store less data per row, which results in fewer pages needed, thereby reducing logical reads when the nonclustered indexes are scanned.</a:t>
            </a:r>
          </a:p>
          <a:p>
            <a:endParaRPr lang="en-US" baseline="0" dirty="0"/>
          </a:p>
          <a:p>
            <a:r>
              <a:rPr lang="en-US" b="1" baseline="0" dirty="0"/>
              <a:t>Clustered indexes have to be unique, whether you define them as such or not. </a:t>
            </a:r>
            <a:r>
              <a:rPr lang="en-US" u="sng" baseline="0" dirty="0"/>
              <a:t>If duplicate values are inserted, Microsoft SQL Server inserts a hidden extra column called a uniquifier</a:t>
            </a:r>
            <a:r>
              <a:rPr lang="en-US" u="none" baseline="0" dirty="0"/>
              <a:t> </a:t>
            </a:r>
            <a:r>
              <a:rPr lang="en-US" baseline="0" dirty="0"/>
              <a:t>– a 4 byte int – in those duplicated rows. </a:t>
            </a:r>
          </a:p>
          <a:p>
            <a:r>
              <a:rPr lang="en-US" baseline="0" dirty="0"/>
              <a:t>This causes the clustering key to be wider, with all the impact just listed above. </a:t>
            </a:r>
            <a:r>
              <a:rPr lang="en-US" b="1" baseline="0" dirty="0"/>
              <a:t>If you have a lot of duplication, consider adding a second column to the clustering key</a:t>
            </a:r>
            <a:r>
              <a:rPr lang="en-US" baseline="0" dirty="0"/>
              <a:t>. </a:t>
            </a:r>
            <a:r>
              <a:rPr lang="en-US" u="sng" baseline="0" dirty="0"/>
              <a:t>You</a:t>
            </a:r>
            <a:r>
              <a:rPr lang="en-US" u="sng" dirty="0"/>
              <a:t> wi</a:t>
            </a:r>
            <a:r>
              <a:rPr lang="en-US" u="sng" baseline="0" dirty="0"/>
              <a:t>ll still have a wider key, but because that column will be embedded in all of the nonclustered indexes, you may be able to cover more queries</a:t>
            </a:r>
            <a:r>
              <a:rPr lang="en-US" u="none" baseline="0" dirty="0"/>
              <a:t>. </a:t>
            </a:r>
            <a:r>
              <a:rPr lang="en-US" baseline="0" dirty="0"/>
              <a:t>If the duplication is minimal, though, adding another column to the key would not be worth it.</a:t>
            </a:r>
          </a:p>
          <a:p>
            <a:endParaRPr lang="en-US" baseline="0" dirty="0"/>
          </a:p>
          <a:p>
            <a:r>
              <a:rPr lang="en-US" b="1" baseline="0" dirty="0"/>
              <a:t>If you cluster on a value that gets updated, SQL Server will have to spend time moving the entire row to new locations</a:t>
            </a:r>
            <a:r>
              <a:rPr lang="en-US" baseline="0" dirty="0"/>
              <a:t>. If the table has 75 columns, that</a:t>
            </a:r>
            <a:r>
              <a:rPr lang="en-US" dirty="0"/>
              <a:t> i</a:t>
            </a:r>
            <a:r>
              <a:rPr lang="en-US" baseline="0" dirty="0"/>
              <a:t>s a lot of movement, which takes time. Also, the movement causes page splits. Page splits cause fragmentation, which affects scans because data cannot be read sequentially.  </a:t>
            </a:r>
          </a:p>
          <a:p>
            <a:r>
              <a:rPr lang="en-US" baseline="0" dirty="0"/>
              <a:t>Clustering on values that are not naturally ascending or descending also increase page splits.  </a:t>
            </a:r>
          </a:p>
          <a:p>
            <a:endParaRPr lang="en-US" baseline="0" dirty="0"/>
          </a:p>
          <a:p>
            <a:r>
              <a:rPr lang="en-US" baseline="0" dirty="0"/>
              <a:t>References </a:t>
            </a:r>
          </a:p>
          <a:p>
            <a:r>
              <a:rPr lang="en-US" dirty="0">
                <a:hlinkClick r:id="rId3"/>
              </a:rPr>
              <a:t>https://docs.microsoft.com/en-us/archive/blogs/josebda/sql-server-2008-indexing-best-practices</a:t>
            </a:r>
            <a:endParaRPr lang="en-US" dirty="0"/>
          </a:p>
          <a:p>
            <a:endParaRPr lang="en-US" baseline="0"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5</a:t>
            </a:fld>
            <a:endParaRPr lang="en-US" noProof="0"/>
          </a:p>
        </p:txBody>
      </p:sp>
    </p:spTree>
    <p:extLst>
      <p:ext uri="{BB962C8B-B14F-4D97-AF65-F5344CB8AC3E}">
        <p14:creationId xmlns:p14="http://schemas.microsoft.com/office/powerpoint/2010/main" val="1097353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endParaRPr lang="en-US"/>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Primary keys are involved in joins to foreign keys, which typically means that you are frequently accessing the data via primary key valu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Frequently, clustering on the primary key supports the clustered index best practic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Even if primary key meets all the other best practices, </a:t>
            </a:r>
            <a:r>
              <a:rPr lang="en-US" b="1"/>
              <a:t>if the data is not searched by the primary key</a:t>
            </a:r>
            <a:r>
              <a:rPr lang="en-US"/>
              <a:t>, </a:t>
            </a:r>
            <a:r>
              <a:rPr lang="en-US" b="1"/>
              <a:t>then it is the wrong clustering key.</a:t>
            </a:r>
          </a:p>
          <a:p>
            <a:r>
              <a:rPr lang="en-US"/>
              <a:t>=============</a:t>
            </a:r>
          </a:p>
          <a:p>
            <a:r>
              <a:rPr lang="en-US" b="1"/>
              <a:t>More Information</a:t>
            </a:r>
          </a:p>
          <a:p>
            <a:r>
              <a:rPr lang="en-US"/>
              <a:t>=============</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a:p>
          <a:p>
            <a:r>
              <a:rPr lang="en-US" b="1"/>
              <a:t>Many people associate clustering</a:t>
            </a:r>
            <a:r>
              <a:rPr lang="en-US" b="1" baseline="0"/>
              <a:t> keys with primary keys and may not be aware that the two are independent concepts.</a:t>
            </a:r>
          </a:p>
          <a:p>
            <a:pPr marL="381762" lvl="1" indent="-171450">
              <a:buFont typeface="Arial" panose="020B0604020202020204" pitchFamily="34" charset="0"/>
              <a:buChar char="•"/>
            </a:pPr>
            <a:r>
              <a:rPr lang="en-US" baseline="0"/>
              <a:t>A primary key simply ensures that each row is unique. It has nothing to do with the way that the data in a table is sorted.  </a:t>
            </a:r>
          </a:p>
          <a:p>
            <a:pPr marL="381762" lvl="1" indent="-171450">
              <a:buFont typeface="Arial" panose="020B0604020202020204" pitchFamily="34" charset="0"/>
              <a:buChar char="•"/>
            </a:pPr>
            <a:r>
              <a:rPr lang="en-US" baseline="0"/>
              <a:t>Because they are independent, it is not a requirement that the same key(s) be used for both.  </a:t>
            </a:r>
          </a:p>
          <a:p>
            <a:pPr marL="381762" lvl="1" indent="-171450">
              <a:buFont typeface="Arial" panose="020B0604020202020204" pitchFamily="34" charset="0"/>
              <a:buChar char="•"/>
            </a:pPr>
            <a:r>
              <a:rPr lang="en-US" baseline="0"/>
              <a:t>So, </a:t>
            </a:r>
            <a:r>
              <a:rPr lang="en-US" b="1" baseline="0"/>
              <a:t>why is it such a common practice</a:t>
            </a:r>
            <a:r>
              <a:rPr lang="en-US" baseline="0"/>
              <a:t>? </a:t>
            </a:r>
          </a:p>
          <a:p>
            <a:pPr marL="381762" lvl="1" indent="-171450">
              <a:buFont typeface="Arial" panose="020B0604020202020204" pitchFamily="34" charset="0"/>
              <a:buChar char="•"/>
            </a:pPr>
            <a:r>
              <a:rPr lang="en-US" baseline="0"/>
              <a:t>The answer is that a lot of the time, it makes a lot of sense. </a:t>
            </a:r>
            <a:r>
              <a:rPr lang="en-US" b="1" baseline="0"/>
              <a:t>Primary keys satisfy a lot of clustered index best practices.</a:t>
            </a:r>
          </a:p>
          <a:p>
            <a:pPr marL="381762" lvl="1" indent="-171450">
              <a:buFont typeface="Arial" panose="020B0604020202020204" pitchFamily="34" charset="0"/>
              <a:buChar char="•"/>
            </a:pPr>
            <a:r>
              <a:rPr lang="en-US" baseline="0"/>
              <a:t>In a one-to-many child table, you would typically use </a:t>
            </a:r>
            <a:r>
              <a:rPr lang="en-US" b="1" baseline="0"/>
              <a:t>parent_id, child_id</a:t>
            </a:r>
            <a:r>
              <a:rPr lang="en-US" b="0" baseline="0"/>
              <a:t>.</a:t>
            </a:r>
          </a:p>
          <a:p>
            <a:pPr marL="171450" indent="-171450">
              <a:buFont typeface="Arial" panose="020B0604020202020204" pitchFamily="34" charset="0"/>
              <a:buChar char="•"/>
            </a:pPr>
            <a:endParaRPr lang="en-US" b="1" baseline="0"/>
          </a:p>
          <a:p>
            <a:pPr marL="0" indent="0">
              <a:buFont typeface="Arial" panose="020B0604020202020204" pitchFamily="34" charset="0"/>
              <a:buNone/>
            </a:pPr>
            <a:r>
              <a:rPr lang="en-US" b="1"/>
              <a:t>Do not cluster on the Primary key</a:t>
            </a:r>
            <a:endParaRPr lang="en-US" b="1" baseline="0"/>
          </a:p>
          <a:p>
            <a:pPr marL="381762" marR="0" lvl="1" indent="-171450" algn="l" defTabSz="932742" rtl="0" eaLnBrk="1" fontAlgn="auto" latinLnBrk="0" hangingPunct="1">
              <a:lnSpc>
                <a:spcPct val="90000"/>
              </a:lnSpc>
              <a:spcBef>
                <a:spcPts val="0"/>
              </a:spcBef>
              <a:spcAft>
                <a:spcPts val="340"/>
              </a:spcAft>
              <a:buClrTx/>
              <a:buSzTx/>
              <a:tabLst/>
              <a:defRPr/>
            </a:pPr>
            <a:r>
              <a:rPr lang="en-US"/>
              <a:t>This is a common</a:t>
            </a:r>
            <a:r>
              <a:rPr lang="en-US" baseline="0"/>
              <a:t> problem with association tables and child tables in a one-to-many relationship, in which the typical access is via the parent table’s ID.</a:t>
            </a:r>
          </a:p>
          <a:p>
            <a:pPr marL="381762" marR="0" lvl="1" indent="-171450" algn="l" defTabSz="932742" rtl="0" eaLnBrk="1" fontAlgn="auto" latinLnBrk="0" hangingPunct="1">
              <a:lnSpc>
                <a:spcPct val="90000"/>
              </a:lnSpc>
              <a:spcBef>
                <a:spcPts val="0"/>
              </a:spcBef>
              <a:spcAft>
                <a:spcPts val="340"/>
              </a:spcAft>
              <a:buClrTx/>
              <a:buSzTx/>
              <a:tabLst/>
              <a:defRPr/>
            </a:pPr>
            <a:r>
              <a:rPr lang="en-US" baseline="0"/>
              <a:t>If usage stats DMV show little to no index seeks on the clustered key, but a large number of index seeks on the parent ID with key lookups on the clustered index, that</a:t>
            </a:r>
            <a:r>
              <a:rPr lang="en-US"/>
              <a:t> is </a:t>
            </a:r>
            <a:r>
              <a:rPr lang="en-US" baseline="0"/>
              <a:t>a sign that the clustered key may need to change to the parent ID.</a:t>
            </a:r>
          </a:p>
          <a:p>
            <a:pPr marL="381762" marR="0" lvl="1" indent="-171450" algn="l" defTabSz="932742" rtl="0" eaLnBrk="1" fontAlgn="auto" latinLnBrk="0" hangingPunct="1">
              <a:lnSpc>
                <a:spcPct val="90000"/>
              </a:lnSpc>
              <a:spcBef>
                <a:spcPts val="0"/>
              </a:spcBef>
              <a:spcAft>
                <a:spcPts val="340"/>
              </a:spcAft>
              <a:buClrTx/>
              <a:buSzTx/>
              <a:tabLst/>
              <a:defRPr/>
            </a:pPr>
            <a:r>
              <a:rPr lang="en-US" baseline="0"/>
              <a:t>The parent ID is a good choice not only because it is the primary access path to the table. It is also typically ascending, so the rate of fragmentation is likely to be reasonably low. </a:t>
            </a:r>
          </a:p>
          <a:p>
            <a:pPr marL="381762" marR="0" lvl="1" indent="-171450" algn="l" defTabSz="932742" rtl="0" eaLnBrk="1" fontAlgn="auto" latinLnBrk="0" hangingPunct="1">
              <a:lnSpc>
                <a:spcPct val="90000"/>
              </a:lnSpc>
              <a:spcBef>
                <a:spcPts val="0"/>
              </a:spcBef>
              <a:spcAft>
                <a:spcPts val="340"/>
              </a:spcAft>
              <a:buClrTx/>
              <a:buSzTx/>
              <a:tabLst/>
              <a:defRPr/>
            </a:pPr>
            <a:r>
              <a:rPr lang="en-US" b="1" baseline="0"/>
              <a:t>It often will not be unique, so adding a second column to guarantee uniqueness may be a good idea</a:t>
            </a:r>
            <a:r>
              <a:rPr lang="en-US" baseline="0"/>
              <a:t>. In an association table, creating a clustered index on parent1_id, parent2_id works well. </a:t>
            </a:r>
          </a:p>
          <a:p>
            <a:pPr marL="210312" marR="0" lvl="1" indent="0" algn="l" defTabSz="932742" rtl="0" eaLnBrk="1" fontAlgn="auto" latinLnBrk="0" hangingPunct="1">
              <a:lnSpc>
                <a:spcPct val="90000"/>
              </a:lnSpc>
              <a:spcBef>
                <a:spcPts val="0"/>
              </a:spcBef>
              <a:spcAft>
                <a:spcPts val="340"/>
              </a:spcAft>
              <a:buClrTx/>
              <a:buSzTx/>
              <a:buNone/>
              <a:tabLst/>
              <a:defRPr/>
            </a:pPr>
            <a:endParaRPr lang="en-US"/>
          </a:p>
          <a:p>
            <a:pPr marL="381762" lvl="1" indent="-171450">
              <a:buFont typeface="Arial" panose="020B0604020202020204" pitchFamily="34" charset="0"/>
              <a:buChar char="•"/>
            </a:pPr>
            <a:endParaRPr lang="en-US" b="1"/>
          </a:p>
          <a:p>
            <a:pPr marL="210312" marR="0" lvl="1" indent="0" algn="l" defTabSz="914400" rtl="0" eaLnBrk="1" fontAlgn="auto" latinLnBrk="0" hangingPunct="1">
              <a:lnSpc>
                <a:spcPct val="90000"/>
              </a:lnSpc>
              <a:spcBef>
                <a:spcPts val="333"/>
              </a:spcBef>
              <a:spcAft>
                <a:spcPts val="0"/>
              </a:spcAft>
              <a:buClrTx/>
              <a:buSzTx/>
              <a:buFontTx/>
              <a:buNone/>
              <a:tabLst/>
              <a:defRPr/>
            </a:pP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a:p>
        </p:txBody>
      </p:sp>
    </p:spTree>
    <p:extLst>
      <p:ext uri="{BB962C8B-B14F-4D97-AF65-F5344CB8AC3E}">
        <p14:creationId xmlns:p14="http://schemas.microsoft.com/office/powerpoint/2010/main" val="23175889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Index columns used in </a:t>
            </a:r>
            <a:r>
              <a:rPr lang="en-US" b="1" dirty="0"/>
              <a:t>WHERE</a:t>
            </a:r>
            <a:r>
              <a:rPr lang="en-US" dirty="0"/>
              <a:t> clauses and </a:t>
            </a:r>
            <a:r>
              <a:rPr lang="en-US" b="1" dirty="0"/>
              <a:t>JOINs</a:t>
            </a:r>
          </a:p>
          <a:p>
            <a:pPr lvl="2"/>
            <a:r>
              <a:rPr lang="en-US" sz="3200" dirty="0"/>
              <a:t>Start with foreign keys, and remove later if not used</a:t>
            </a:r>
            <a:endParaRPr lang="en-US" dirty="0"/>
          </a:p>
          <a:p>
            <a:endParaRPr lang="en-US" dirty="0"/>
          </a:p>
          <a:p>
            <a:r>
              <a:rPr lang="en-US" dirty="0"/>
              <a:t>This strategy</a:t>
            </a:r>
            <a:r>
              <a:rPr lang="en-US" baseline="0" dirty="0"/>
              <a:t> is easy for nonclustered indexes, for any single query.  </a:t>
            </a:r>
            <a:r>
              <a:rPr lang="en-US" b="1" baseline="0" dirty="0"/>
              <a:t>Build an index to support joins and WHERE clauses</a:t>
            </a:r>
            <a:r>
              <a:rPr lang="en-US" baseline="0" dirty="0"/>
              <a:t>, and you</a:t>
            </a:r>
            <a:r>
              <a:rPr lang="en-US" dirty="0"/>
              <a:t> ar</a:t>
            </a:r>
            <a:r>
              <a:rPr lang="en-US" baseline="0" dirty="0"/>
              <a:t>e done. The challenge comes when you need to address indexing a table with a lot of different queries used against it, each of which may filter on different combinations of columns. </a:t>
            </a:r>
          </a:p>
          <a:p>
            <a:r>
              <a:rPr lang="en-US" b="1" baseline="0" dirty="0"/>
              <a:t>You cannot</a:t>
            </a:r>
            <a:r>
              <a:rPr lang="en-US" b="1" dirty="0"/>
              <a:t> </a:t>
            </a:r>
            <a:r>
              <a:rPr lang="en-US" b="1" baseline="0" dirty="0"/>
              <a:t>build specific indexes for every combination of fields that may ever be used, because:</a:t>
            </a:r>
          </a:p>
          <a:p>
            <a:pPr marL="381762" lvl="1" indent="-171450">
              <a:buFont typeface="Arial" panose="020B0604020202020204" pitchFamily="34" charset="0"/>
              <a:buChar char="•"/>
            </a:pPr>
            <a:r>
              <a:rPr lang="en-US" baseline="0" dirty="0"/>
              <a:t>Of storage issues.</a:t>
            </a:r>
          </a:p>
          <a:p>
            <a:pPr marL="381762" lvl="1" indent="-171450">
              <a:buFont typeface="Arial" panose="020B0604020202020204" pitchFamily="34" charset="0"/>
              <a:buChar char="•"/>
            </a:pPr>
            <a:r>
              <a:rPr lang="en-US" dirty="0"/>
              <a:t>A </a:t>
            </a:r>
            <a:r>
              <a:rPr lang="en-US" baseline="0" dirty="0"/>
              <a:t>lot of nonclustered indexes would impact DML.</a:t>
            </a:r>
          </a:p>
          <a:p>
            <a:pPr marL="381762" lvl="1" indent="-171450">
              <a:buFont typeface="Arial" panose="020B0604020202020204" pitchFamily="34" charset="0"/>
              <a:buChar char="•"/>
            </a:pPr>
            <a:r>
              <a:rPr lang="en-US" dirty="0"/>
              <a:t>Of </a:t>
            </a:r>
            <a:r>
              <a:rPr lang="en-US" baseline="0" dirty="0"/>
              <a:t>the increased maintenance overhead.  </a:t>
            </a:r>
          </a:p>
          <a:p>
            <a:r>
              <a:rPr lang="en-US" dirty="0"/>
              <a:t>=============</a:t>
            </a:r>
          </a:p>
          <a:p>
            <a:r>
              <a:rPr lang="en-US" b="1" dirty="0"/>
              <a:t>More Information</a:t>
            </a:r>
          </a:p>
          <a:p>
            <a:r>
              <a:rPr lang="en-US" dirty="0"/>
              <a:t>=============</a:t>
            </a:r>
          </a:p>
          <a:p>
            <a:endParaRPr lang="en-US" baseline="0" dirty="0"/>
          </a:p>
          <a:p>
            <a:r>
              <a:rPr lang="en-US" baseline="0" dirty="0"/>
              <a:t>Deciding on an indexing strategy is never easy and is never a one-time effort. </a:t>
            </a:r>
          </a:p>
          <a:p>
            <a:r>
              <a:rPr lang="en-US" baseline="0" dirty="0"/>
              <a:t>The queries against a table change over time, and therefore, indexing strategies have to be reviewed and adjusted as neede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Ideally, the first column</a:t>
            </a:r>
            <a:r>
              <a:rPr lang="en-US" baseline="0" dirty="0"/>
              <a:t> in a multi-column index will be used in every query. However,</a:t>
            </a:r>
            <a:r>
              <a:rPr lang="en-US" dirty="0"/>
              <a:t> that is</a:t>
            </a:r>
            <a:r>
              <a:rPr lang="en-US" baseline="0" dirty="0"/>
              <a:t> not likely to happen.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t>One solution is to create every possible combination of indexes, but that will not scale.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Even</a:t>
            </a:r>
            <a:r>
              <a:rPr lang="en-US" baseline="0" dirty="0"/>
              <a:t> though index scans are not as efficient as seeks, the fact is that nonclustered indexes only have a few columns</a:t>
            </a:r>
            <a:r>
              <a:rPr lang="en-US" dirty="0"/>
              <a:t> as </a:t>
            </a:r>
            <a:r>
              <a:rPr lang="en-US" baseline="0" dirty="0"/>
              <a:t>compared to the clustered index,</a:t>
            </a:r>
            <a:r>
              <a:rPr lang="en-US" dirty="0"/>
              <a:t> </a:t>
            </a:r>
            <a:r>
              <a:rPr lang="en-US" baseline="0" dirty="0"/>
              <a:t>which could have dozens of column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This means that scanning a nonclustered index to find records may result in acceptable query performance.  </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t>Ideally the focus should be on writing queries to use existing indexes, rather than on adding more indexes</a:t>
            </a: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a:p>
        </p:txBody>
      </p:sp>
    </p:spTree>
    <p:extLst>
      <p:ext uri="{BB962C8B-B14F-4D97-AF65-F5344CB8AC3E}">
        <p14:creationId xmlns:p14="http://schemas.microsoft.com/office/powerpoint/2010/main" val="2377018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a:t>Single Column Index: If the columns to be indexed have a lot of distinct values</a:t>
            </a:r>
            <a:r>
              <a:rPr lang="en-US" b="1" baseline="0"/>
              <a:t> (and so return a small rowset for any one value that is searched), then creating separate, single-column indexes works well</a:t>
            </a:r>
            <a:r>
              <a:rPr lang="en-US" baseline="0"/>
              <a:t>.</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aseline="0"/>
              <a:t>However, if SQL has to pull large amounts of data from the single-column indexes</a:t>
            </a:r>
            <a:r>
              <a:rPr lang="en-US" u="sng" baseline="0"/>
              <a:t>, </a:t>
            </a:r>
            <a:r>
              <a:rPr lang="en-US" b="1" u="sng" baseline="0"/>
              <a:t>that</a:t>
            </a:r>
            <a:r>
              <a:rPr lang="en-US" b="1" u="sng"/>
              <a:t> i</a:t>
            </a:r>
            <a:r>
              <a:rPr lang="en-US" b="1" u="sng" baseline="0"/>
              <a:t>s going to involve a lot of logical reads</a:t>
            </a:r>
            <a:r>
              <a:rPr lang="en-US" u="sng" baseline="0"/>
              <a:t>, even If SQL Server ends up returning a small rowset</a:t>
            </a:r>
            <a:r>
              <a:rPr lang="en-US" u="none" baseline="0"/>
              <a:t>.</a:t>
            </a:r>
            <a:r>
              <a:rPr lang="en-US" u="sng" baseline="0"/>
              <a:t> </a:t>
            </a:r>
            <a:endParaRPr lang="en-US" baseline="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baseline="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a:t>Multi-column Index:  </a:t>
            </a:r>
            <a:r>
              <a:rPr lang="en-US" b="1"/>
              <a:t>if the</a:t>
            </a:r>
            <a:r>
              <a:rPr lang="en-US" b="1" baseline="0"/>
              <a:t> final rowset of </a:t>
            </a:r>
            <a:r>
              <a:rPr lang="en-US" b="1" u="sng" baseline="0"/>
              <a:t>2 or more low cardinality fields is a small result set</a:t>
            </a:r>
            <a:r>
              <a:rPr lang="en-US" b="1" baseline="0"/>
              <a:t>, then having a single multi-column index may significantly reduce the total logical reads and the processing time, </a:t>
            </a:r>
            <a:r>
              <a:rPr lang="en-US" baseline="0"/>
              <a:t>because SQL Server does</a:t>
            </a:r>
            <a:r>
              <a:rPr lang="en-US"/>
              <a:t> not </a:t>
            </a:r>
            <a:r>
              <a:rPr lang="en-US" baseline="0"/>
              <a:t>have to read 2 large result sets independently, and then join the results together. It can reduce </a:t>
            </a:r>
            <a:r>
              <a:rPr lang="en-US" b="1" baseline="0"/>
              <a:t>CPU or memory costs</a:t>
            </a:r>
            <a:r>
              <a:rPr lang="en-US" b="0" baseline="0"/>
              <a:t>.</a:t>
            </a:r>
          </a:p>
          <a:p>
            <a:pPr marL="784098" marR="0" lvl="6" indent="-171450" algn="l" defTabSz="914400" rtl="0" eaLnBrk="1" fontAlgn="auto" latinLnBrk="0" hangingPunct="1">
              <a:lnSpc>
                <a:spcPct val="90000"/>
              </a:lnSpc>
              <a:spcBef>
                <a:spcPts val="333"/>
              </a:spcBef>
              <a:spcAft>
                <a:spcPts val="0"/>
              </a:spcAft>
              <a:buClrTx/>
              <a:buSzTx/>
              <a:tabLst/>
              <a:defRPr/>
            </a:pPr>
            <a:r>
              <a:rPr lang="en-US" sz="1000" kern="1200" baseline="0">
                <a:solidFill>
                  <a:schemeClr val="tx1"/>
                </a:solidFill>
                <a:latin typeface="+mn-lt"/>
                <a:ea typeface="+mn-ea"/>
                <a:cs typeface="+mn-cs"/>
              </a:rPr>
              <a:t>The cardinality of all the columns together is higher than any one column alone</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b="1" baseline="0"/>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aseline="0"/>
              <a:t>However, </a:t>
            </a:r>
            <a:r>
              <a:rPr lang="en-US" u="sng" baseline="0"/>
              <a:t>multi-column indexing has a couple of challenges.</a:t>
            </a:r>
            <a:r>
              <a:rPr lang="en-US" baseline="0"/>
              <a:t> </a:t>
            </a:r>
            <a:r>
              <a:rPr lang="en-US" b="1" baseline="0"/>
              <a:t>First</a:t>
            </a:r>
            <a:r>
              <a:rPr lang="en-US" baseline="0"/>
              <a:t>, </a:t>
            </a:r>
            <a:r>
              <a:rPr lang="en-US" b="1" baseline="0"/>
              <a:t>you need to choose column order</a:t>
            </a:r>
            <a:r>
              <a:rPr lang="en-US" baseline="0"/>
              <a:t>. </a:t>
            </a:r>
            <a:r>
              <a:rPr lang="en-US" u="sng" baseline="0"/>
              <a:t>SQL Server traverses the B-Tree based on the order specified</a:t>
            </a:r>
            <a:r>
              <a:rPr lang="en-US"/>
              <a:t>. Therefore</a:t>
            </a:r>
            <a:r>
              <a:rPr lang="en-US" baseline="0"/>
              <a:t>, indexes on Col1, Col2, and Col2, Col1 are not equivalent. This</a:t>
            </a:r>
            <a:r>
              <a:rPr lang="en-US"/>
              <a:t> means that</a:t>
            </a:r>
            <a:r>
              <a:rPr lang="en-US" baseline="0"/>
              <a:t> you can end up wanting to create a bunch of different</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baseline="0"/>
              <a:t> multi-column indexes, which</a:t>
            </a:r>
            <a:r>
              <a:rPr lang="en-US"/>
              <a:t> will not </a:t>
            </a:r>
            <a:r>
              <a:rPr lang="en-US" baseline="0"/>
              <a:t>scale well.  </a:t>
            </a:r>
          </a:p>
          <a:p>
            <a:r>
              <a:rPr lang="en-US"/>
              <a:t>=============</a:t>
            </a:r>
          </a:p>
          <a:p>
            <a:r>
              <a:rPr lang="en-US" b="1"/>
              <a:t>More Information</a:t>
            </a:r>
          </a:p>
          <a:p>
            <a:r>
              <a:rPr lang="en-US"/>
              <a:t>=============</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baseline="0"/>
          </a:p>
          <a:p>
            <a:endParaRPr lang="en-US"/>
          </a:p>
          <a:p>
            <a:pPr marL="228600" indent="-228600">
              <a:buFont typeface="+mj-lt"/>
              <a:buAutoNum type="arabicPeriod"/>
            </a:pPr>
            <a:r>
              <a:rPr lang="en-US" b="1"/>
              <a:t>Single Column Index</a:t>
            </a:r>
            <a:r>
              <a:rPr lang="en-US"/>
              <a:t>:</a:t>
            </a:r>
          </a:p>
          <a:p>
            <a:pPr lvl="1"/>
            <a:r>
              <a:rPr lang="en-US"/>
              <a:t>The idea behind single column</a:t>
            </a:r>
            <a:r>
              <a:rPr lang="en-US" baseline="0"/>
              <a:t> indexing approaches is that SQL Server can satisfy filters against multiple columns by searching each index separately, and then joining the results together to get the rows that satisfy all the filters.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a:t>As an example, imagine that you have 100 million orders, and you have 3 payment types (case, check, and charge) and 2 order types (online</a:t>
            </a:r>
            <a:r>
              <a:rPr lang="en-US"/>
              <a:t> and </a:t>
            </a:r>
            <a:r>
              <a:rPr lang="en-US" baseline="0"/>
              <a:t>in store).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a:t> If you have separate indexes for each column, then SQL Server needs to retrieve approximately 33 million rows that match the payment type filter, and 50 million rows to match the order type filter. That</a:t>
            </a:r>
            <a:r>
              <a:rPr lang="en-US"/>
              <a:t> i</a:t>
            </a:r>
            <a:r>
              <a:rPr lang="en-US" baseline="0"/>
              <a:t>s a lot of logical I/O for each.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a:t>Then, SQL has to merge those result sets together, and this takes a lot of CPU and memory to return the 10 million rows that match both.  </a:t>
            </a:r>
          </a:p>
          <a:p>
            <a:pPr marL="210312" marR="0" lvl="1" indent="0" algn="l" defTabSz="932742" rtl="0" eaLnBrk="1" fontAlgn="auto" latinLnBrk="0" hangingPunct="1">
              <a:lnSpc>
                <a:spcPct val="90000"/>
              </a:lnSpc>
              <a:spcBef>
                <a:spcPts val="0"/>
              </a:spcBef>
              <a:spcAft>
                <a:spcPts val="340"/>
              </a:spcAft>
              <a:buClrTx/>
              <a:buSzTx/>
              <a:buFontTx/>
              <a:buNone/>
              <a:tabLst/>
              <a:defRPr/>
            </a:pPr>
            <a:r>
              <a:rPr lang="en-US" baseline="0"/>
              <a:t>In such a</a:t>
            </a:r>
            <a:r>
              <a:rPr lang="en-US"/>
              <a:t> </a:t>
            </a:r>
            <a:r>
              <a:rPr lang="en-US" baseline="0"/>
              <a:t>situation, you</a:t>
            </a:r>
            <a:r>
              <a:rPr lang="en-US"/>
              <a:t> would</a:t>
            </a:r>
            <a:r>
              <a:rPr lang="en-US" baseline="0"/>
              <a:t> be better off with a multi-column index.</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b="1" baseline="0"/>
              <a:t>Multi Column Index</a:t>
            </a:r>
            <a:r>
              <a:rPr lang="en-US" baseline="0"/>
              <a:t>:</a:t>
            </a:r>
          </a:p>
          <a:p>
            <a:pPr lvl="1"/>
            <a:r>
              <a:rPr lang="en-US" baseline="0"/>
              <a:t>Continuing the example from the previous slide, </a:t>
            </a:r>
            <a:r>
              <a:rPr lang="en-US" b="1" baseline="0"/>
              <a:t>if a 2-column index is created on payment type and order type, SQL Server is still going to have a lot of I/O</a:t>
            </a:r>
            <a:r>
              <a:rPr lang="en-US" baseline="0"/>
              <a:t>.  When you</a:t>
            </a:r>
            <a:r>
              <a:rPr lang="en-US"/>
              <a:t> ar</a:t>
            </a:r>
            <a:r>
              <a:rPr lang="en-US" baseline="0"/>
              <a:t>e getting 10 million rows, that</a:t>
            </a:r>
            <a:r>
              <a:rPr lang="en-US"/>
              <a:t> i</a:t>
            </a:r>
            <a:r>
              <a:rPr lang="en-US" baseline="0"/>
              <a:t>s inevitable.  </a:t>
            </a:r>
          </a:p>
          <a:p>
            <a:pPr lvl="1"/>
            <a:r>
              <a:rPr lang="en-US" baseline="0"/>
              <a:t>However, now SQL Server can find the matching rows in a single pass of 1 index, </a:t>
            </a:r>
            <a:r>
              <a:rPr lang="en-US" b="1" baseline="0"/>
              <a:t>meaning that you have a smaller number of logical reads </a:t>
            </a:r>
            <a:r>
              <a:rPr lang="en-US" baseline="0"/>
              <a:t>(reads to find the 10 million rows, rather than the reads to find 33 million and 50 million rows) and </a:t>
            </a:r>
            <a:r>
              <a:rPr lang="en-US" b="1" baseline="0"/>
              <a:t>you have no need to merge result sets together</a:t>
            </a:r>
            <a:r>
              <a:rPr lang="en-US" baseline="0"/>
              <a:t>.  </a:t>
            </a:r>
          </a:p>
          <a:p>
            <a:pPr lvl="1"/>
            <a:r>
              <a:rPr lang="en-US" baseline="0"/>
              <a:t>Therefore, </a:t>
            </a:r>
            <a:r>
              <a:rPr lang="en-US" b="1" baseline="0"/>
              <a:t>there are no</a:t>
            </a:r>
            <a:r>
              <a:rPr lang="en-US" b="1"/>
              <a:t> </a:t>
            </a:r>
            <a:r>
              <a:rPr lang="en-US" b="1" baseline="0"/>
              <a:t>CPU or memory costs</a:t>
            </a:r>
            <a:r>
              <a:rPr lang="en-US" baseline="0"/>
              <a:t>. Is this a fast query? Probably not.  Is it faster and less resource-intensive than the single-column approach? Definitely.</a:t>
            </a:r>
          </a:p>
          <a:p>
            <a:pPr lvl="1"/>
            <a:endParaRPr lang="en-US" baseline="0"/>
          </a:p>
          <a:p>
            <a:pPr marL="210312" marR="0" lvl="1" indent="0" algn="l" defTabSz="932742" rtl="0" eaLnBrk="1" fontAlgn="auto" latinLnBrk="0" hangingPunct="1">
              <a:lnSpc>
                <a:spcPct val="90000"/>
              </a:lnSpc>
              <a:spcBef>
                <a:spcPts val="0"/>
              </a:spcBef>
              <a:spcAft>
                <a:spcPts val="340"/>
              </a:spcAft>
              <a:buClrTx/>
              <a:buSzTx/>
              <a:buFontTx/>
              <a:buNone/>
              <a:tabLst/>
              <a:defRPr/>
            </a:pP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8</a:t>
            </a:fld>
            <a:endParaRPr lang="en-US" noProof="0"/>
          </a:p>
        </p:txBody>
      </p:sp>
    </p:spTree>
    <p:extLst>
      <p:ext uri="{BB962C8B-B14F-4D97-AF65-F5344CB8AC3E}">
        <p14:creationId xmlns:p14="http://schemas.microsoft.com/office/powerpoint/2010/main" val="10007862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rying to decide whether your index should be on Col1, Col2 or Col2, Col1 (or both), remember that even though SQL Server performs best when it can seek the index, scanning the index may still perform a lot better than scanning the clustered index. </a:t>
            </a:r>
          </a:p>
          <a:p>
            <a:r>
              <a:rPr lang="en-US" dirty="0"/>
              <a:t>That Is because the clustered index holds all the data for the rows and is therefore typically much larger than any nonclustered index, which typically only has a few columns.  </a:t>
            </a:r>
          </a:p>
          <a:p>
            <a:endParaRPr lang="en-US" dirty="0"/>
          </a:p>
          <a:p>
            <a:r>
              <a:rPr lang="en-US" dirty="0"/>
              <a:t>Therefore, if you are frequently searching for Col1 or Col1, Col2, and only occasionally searching for Col2, it may be OK to accept the index scan needed when you do query Col2 alone, instead of creating both indexes and incurring that maintenance and DML overhea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29</a:t>
            </a:fld>
            <a:endParaRPr lang="en-US" noProof="0"/>
          </a:p>
        </p:txBody>
      </p:sp>
    </p:spTree>
    <p:extLst>
      <p:ext uri="{BB962C8B-B14F-4D97-AF65-F5344CB8AC3E}">
        <p14:creationId xmlns:p14="http://schemas.microsoft.com/office/powerpoint/2010/main" val="42594172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r>
              <a:rPr lang="en-US"/>
              <a:t>:</a:t>
            </a:r>
          </a:p>
          <a:p>
            <a:endParaRPr lang="en-US"/>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Understanding</a:t>
            </a:r>
            <a:r>
              <a:rPr lang="en-US" baseline="0"/>
              <a:t> how indexes are used can help adjust indexing approaches in several way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a:t>You may find indexes that are not used, and be able to drop or disable them.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a:t>You may find clustered indexes that are scanned instead of sought, which could be fixed by adjusting the query.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aseline="0"/>
              <a:t>You may find indexes that are used only at month end, and add them just when needed to reduce the impact on DML and index maintenance.  </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a:t>Sys.dm_db_index_usage_stats </a:t>
            </a:r>
            <a:r>
              <a:rPr lang="en-US" sz="882" b="0" i="0" kern="1200" baseline="0">
                <a:solidFill>
                  <a:schemeClr val="tx1"/>
                </a:solidFill>
                <a:effectLst/>
                <a:latin typeface="+mn-lt"/>
                <a:ea typeface="+mn-ea"/>
                <a:cs typeface="+mn-cs"/>
              </a:rPr>
              <a:t>gives information about overall access methods to your indexes.</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index_physical_stats </a:t>
            </a:r>
            <a:r>
              <a:rPr lang="en-US" sz="882" b="0" i="0" kern="1200" baseline="0">
                <a:solidFill>
                  <a:schemeClr val="tx1"/>
                </a:solidFill>
                <a:effectLst/>
                <a:latin typeface="+mn-lt"/>
                <a:ea typeface="+mn-ea"/>
                <a:cs typeface="+mn-cs"/>
              </a:rPr>
              <a:t>DMF returns information about the lower-level I/O activities, like INSERT, UPDATE and DELETE operations, occurred on the  index, per each table parti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a:solidFill>
                  <a:schemeClr val="tx1"/>
                </a:solidFill>
                <a:effectLst/>
                <a:latin typeface="+mn-lt"/>
                <a:ea typeface="+mn-ea"/>
                <a:cs typeface="+mn-cs"/>
              </a:rPr>
              <a:t>Database Reports </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sz="882" b="0" i="0" kern="1200" baseline="0">
              <a:solidFill>
                <a:schemeClr val="tx1"/>
              </a:solidFill>
              <a:effectLst/>
              <a:latin typeface="+mn-lt"/>
              <a:ea typeface="+mn-ea"/>
              <a:cs typeface="+mn-cs"/>
            </a:endParaRP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a:solidFill>
                  <a:schemeClr val="tx1"/>
                </a:solidFill>
                <a:effectLst/>
                <a:latin typeface="+mn-lt"/>
                <a:ea typeface="+mn-ea"/>
                <a:cs typeface="+mn-cs"/>
              </a:rPr>
              <a:t>References: </a:t>
            </a:r>
            <a:r>
              <a:rPr lang="en-US">
                <a:hlinkClick r:id="rId3"/>
              </a:rPr>
              <a:t>https://docs.microsoft.com/en-us/sql/relational-databases/system-dynamic-management-views/sys-dm-db-index-usage-stats-transact-sql?redirectedfrom=MSDN&amp;view=sql-server-ver15</a:t>
            </a:r>
            <a:endParaRPr lang="en-US" baseline="0"/>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2</a:t>
            </a:fld>
            <a:endParaRPr lang="en-US" noProof="0"/>
          </a:p>
        </p:txBody>
      </p:sp>
    </p:spTree>
    <p:extLst>
      <p:ext uri="{BB962C8B-B14F-4D97-AF65-F5344CB8AC3E}">
        <p14:creationId xmlns:p14="http://schemas.microsoft.com/office/powerpoint/2010/main" val="27393569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Points:</a:t>
            </a:r>
          </a:p>
          <a:p>
            <a:endParaRPr lang="en-US"/>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a:t>Sys.dm_db_index_usage_stats </a:t>
            </a:r>
            <a:r>
              <a:rPr lang="en-US" sz="882" b="0" i="0" kern="1200" baseline="0">
                <a:solidFill>
                  <a:schemeClr val="tx1"/>
                </a:solidFill>
                <a:effectLst/>
                <a:latin typeface="+mn-lt"/>
                <a:ea typeface="+mn-ea"/>
                <a:cs typeface="+mn-cs"/>
              </a:rPr>
              <a:t>gives information about overall access methods to your indexes.</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a:solidFill>
                  <a:schemeClr val="tx1"/>
                </a:solidFill>
                <a:effectLst/>
                <a:latin typeface="+mn-lt"/>
                <a:ea typeface="+mn-ea"/>
                <a:cs typeface="+mn-cs"/>
              </a:rPr>
              <a:t>The </a:t>
            </a:r>
            <a:r>
              <a:rPr lang="en-US" sz="882" b="1" i="0" kern="1200" baseline="0">
                <a:solidFill>
                  <a:schemeClr val="tx1"/>
                </a:solidFill>
                <a:effectLst/>
                <a:latin typeface="+mn-lt"/>
                <a:ea typeface="+mn-ea"/>
                <a:cs typeface="+mn-cs"/>
              </a:rPr>
              <a:t>user_updates</a:t>
            </a:r>
            <a:r>
              <a:rPr lang="en-US" sz="882" b="0" i="0" kern="1200" baseline="0">
                <a:solidFill>
                  <a:schemeClr val="tx1"/>
                </a:solidFill>
                <a:effectLst/>
                <a:latin typeface="+mn-lt"/>
                <a:ea typeface="+mn-ea"/>
                <a:cs typeface="+mn-cs"/>
              </a:rPr>
              <a:t> counter indicates the level of maintenance on the index caused by insert, update, or delete operations on the underlying table or view.</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a:solidFill>
                  <a:schemeClr val="tx1"/>
                </a:solidFill>
                <a:effectLst/>
                <a:latin typeface="+mn-lt"/>
                <a:ea typeface="+mn-ea"/>
                <a:cs typeface="+mn-cs"/>
              </a:rPr>
              <a:t>Whenever a database is detached or is shut down (for example, because AUTO_CLOSE is set to ON), all rows associated with the database are removed.</a:t>
            </a:r>
          </a:p>
          <a:p>
            <a:r>
              <a:rPr lang="en-US"/>
              <a:t>=============</a:t>
            </a:r>
          </a:p>
          <a:p>
            <a:r>
              <a:rPr lang="en-US" b="1"/>
              <a:t>More Information</a:t>
            </a:r>
          </a:p>
          <a:p>
            <a:r>
              <a:rPr lang="en-US"/>
              <a:t>=============</a:t>
            </a:r>
          </a:p>
          <a:p>
            <a:pPr marL="0" marR="0" lvl="0"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1" i="0" kern="1200" baseline="0">
                <a:solidFill>
                  <a:schemeClr val="tx1"/>
                </a:solidFill>
                <a:effectLst/>
                <a:latin typeface="+mn-lt"/>
                <a:ea typeface="+mn-ea"/>
                <a:cs typeface="+mn-cs"/>
              </a:rPr>
              <a:t>Not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index_usage_stats</a:t>
            </a:r>
            <a:r>
              <a:rPr lang="en-US" sz="882" b="0" i="0" kern="1200" baseline="0">
                <a:solidFill>
                  <a:schemeClr val="tx1"/>
                </a:solidFill>
                <a:effectLst/>
                <a:latin typeface="+mn-lt"/>
                <a:ea typeface="+mn-ea"/>
                <a:cs typeface="+mn-cs"/>
              </a:rPr>
              <a:t> does not return information about memory-optimized indexes. For information about memory-optimized index use, see </a:t>
            </a:r>
            <a:r>
              <a:rPr lang="en-US" sz="882" b="1" i="0" u="sng" kern="1200" baseline="0">
                <a:solidFill>
                  <a:schemeClr val="tx1"/>
                </a:solidFill>
                <a:effectLst/>
                <a:latin typeface="+mn-lt"/>
                <a:ea typeface="+mn-ea"/>
                <a:cs typeface="+mn-cs"/>
                <a:hlinkClick r:id="rId3"/>
              </a:rPr>
              <a:t>sys.dm_db_xtp_index_stats (Transact-SQL)</a:t>
            </a:r>
            <a:r>
              <a:rPr lang="en-US" sz="882" b="0" i="0" kern="1200" baseline="0">
                <a:solidFill>
                  <a:schemeClr val="tx1"/>
                </a:solidFill>
                <a:effectLst/>
                <a:latin typeface="+mn-lt"/>
                <a:ea typeface="+mn-ea"/>
                <a:cs typeface="+mn-cs"/>
              </a:rPr>
              <a:t>.</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a:solidFill>
                  <a:schemeClr val="tx1"/>
                </a:solidFill>
                <a:effectLst/>
                <a:latin typeface="+mn-lt"/>
                <a:ea typeface="+mn-ea"/>
                <a:cs typeface="+mn-cs"/>
              </a:rPr>
              <a:t>To call this view from </a:t>
            </a:r>
            <a:r>
              <a:rPr lang="en-US" sz="882" b="1" i="0" kern="1200" baseline="0">
                <a:solidFill>
                  <a:schemeClr val="tx1"/>
                </a:solidFill>
                <a:effectLst/>
                <a:latin typeface="+mn-lt"/>
                <a:ea typeface="+mn-ea"/>
                <a:cs typeface="+mn-cs"/>
              </a:rPr>
              <a:t>Azure Synapse Analytics (SQL DW) </a:t>
            </a:r>
            <a:r>
              <a:rPr lang="en-US" sz="882" b="0" i="0" kern="1200" baseline="0">
                <a:solidFill>
                  <a:schemeClr val="tx1"/>
                </a:solidFill>
                <a:effectLst/>
                <a:latin typeface="+mn-lt"/>
                <a:ea typeface="+mn-ea"/>
                <a:cs typeface="+mn-cs"/>
              </a:rPr>
              <a:t>or Parallel Data Warehouse, use </a:t>
            </a:r>
            <a:r>
              <a:rPr lang="en-US" sz="882" b="1" i="0" kern="1200" baseline="0">
                <a:solidFill>
                  <a:schemeClr val="tx1"/>
                </a:solidFill>
                <a:effectLst/>
                <a:latin typeface="+mn-lt"/>
                <a:ea typeface="+mn-ea"/>
                <a:cs typeface="+mn-cs"/>
              </a:rPr>
              <a:t>sys.dm_pdw_nodes_db_index_usage_stats</a:t>
            </a:r>
            <a:r>
              <a:rPr lang="en-US" sz="882" b="0" i="0" kern="1200" baseline="0">
                <a:solidFill>
                  <a:schemeClr val="tx1"/>
                </a:solidFill>
                <a:effectLst/>
                <a:latin typeface="+mn-lt"/>
                <a:ea typeface="+mn-ea"/>
                <a:cs typeface="+mn-cs"/>
              </a:rPr>
              <a:t>.</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sz="882" b="0" i="0" kern="1200" baseline="0">
              <a:solidFill>
                <a:schemeClr val="tx1"/>
              </a:solidFill>
              <a:effectLst/>
              <a:latin typeface="+mn-lt"/>
              <a:ea typeface="+mn-ea"/>
              <a:cs typeface="+mn-cs"/>
            </a:endParaRP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a:solidFill>
                  <a:schemeClr val="tx1"/>
                </a:solidFill>
                <a:effectLst/>
                <a:latin typeface="+mn-lt"/>
                <a:ea typeface="+mn-ea"/>
                <a:cs typeface="+mn-cs"/>
              </a:rPr>
              <a:t>References: </a:t>
            </a:r>
            <a:r>
              <a:rPr lang="en-US">
                <a:hlinkClick r:id="rId4"/>
              </a:rPr>
              <a:t>https://docs.microsoft.com/en-us/sql/relational-databases/system-dynamic-management-views/sys-dm-db-index-usage-stats-transact-sql?redirectedfrom=MSDN&amp;view=sql-server-ver15</a:t>
            </a:r>
            <a:endParaRPr lang="en-US" baseline="0"/>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5</a:t>
            </a:fld>
            <a:endParaRPr lang="en-US" noProof="0"/>
          </a:p>
        </p:txBody>
      </p:sp>
    </p:spTree>
    <p:extLst>
      <p:ext uri="{BB962C8B-B14F-4D97-AF65-F5344CB8AC3E}">
        <p14:creationId xmlns:p14="http://schemas.microsoft.com/office/powerpoint/2010/main" val="39145913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r>
              <a:rPr lang="en-US"/>
              <a:t>:</a:t>
            </a:r>
          </a:p>
          <a:p>
            <a:endParaRPr lang="en-US"/>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b="1" baseline="0"/>
              <a:t>sys.dm_db_index_operational_stats : </a:t>
            </a:r>
            <a:r>
              <a:rPr lang="en-US" baseline="0"/>
              <a:t>Operational stats provides good, low-level data that is useful for diagnosing different sorts of problems. </a:t>
            </a:r>
            <a:r>
              <a:rPr lang="en-US" b="1" baseline="0"/>
              <a:t>For example, you can track IO latency, lock escalations, and page compression failures</a:t>
            </a:r>
            <a:r>
              <a:rPr lang="en-US"/>
              <a:t> or how many INSERT, UPDATE and DELETE operations, occurred on that index/ per each table parti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Default parameter value is null.</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0" i="0" kern="1200" baseline="0">
                <a:solidFill>
                  <a:schemeClr val="tx1"/>
                </a:solidFill>
                <a:effectLst/>
                <a:latin typeface="+mn-lt"/>
                <a:ea typeface="+mn-ea"/>
                <a:cs typeface="+mn-cs"/>
              </a:rPr>
              <a:t>You can use </a:t>
            </a:r>
            <a:r>
              <a:rPr lang="en-US" sz="882" b="1" i="0" kern="1200" baseline="0">
                <a:solidFill>
                  <a:schemeClr val="tx1"/>
                </a:solidFill>
                <a:effectLst/>
                <a:latin typeface="+mn-lt"/>
                <a:ea typeface="+mn-ea"/>
                <a:cs typeface="+mn-cs"/>
              </a:rPr>
              <a:t>sys.dm_db_index_operational_stats</a:t>
            </a:r>
            <a:r>
              <a:rPr lang="en-US" sz="882" b="0" i="0" kern="1200" baseline="0">
                <a:solidFill>
                  <a:schemeClr val="tx1"/>
                </a:solidFill>
                <a:effectLst/>
                <a:latin typeface="+mn-lt"/>
                <a:ea typeface="+mn-ea"/>
                <a:cs typeface="+mn-cs"/>
              </a:rPr>
              <a:t> to track the length of time that users must wait to read or write to a table, index, or partition, and identify the tables or indexes that are encountering significant I/O activity or hot spots.</a:t>
            </a:r>
            <a:endParaRPr lang="en-US"/>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Data is </a:t>
            </a:r>
            <a:r>
              <a:rPr lang="en-US" b="1"/>
              <a:t>neither persistent nor transactionally consistent</a:t>
            </a:r>
            <a:r>
              <a:rPr lang="en-US"/>
              <a:t>. This means you cannot use these counters to determine whether an index has been used or not, or when the index was last used. </a:t>
            </a:r>
          </a:p>
          <a:p>
            <a:r>
              <a:rPr lang="en-US"/>
              <a:t>=============</a:t>
            </a:r>
          </a:p>
          <a:p>
            <a:r>
              <a:rPr lang="en-US" b="1"/>
              <a:t>More Information</a:t>
            </a:r>
          </a:p>
          <a:p>
            <a:r>
              <a:rPr lang="en-US"/>
              <a:t>=============</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endParaRPr lang="en-US" sz="882" b="1" i="0" kern="1200" baseline="0">
              <a:solidFill>
                <a:schemeClr val="tx1"/>
              </a:solidFill>
              <a:effectLst/>
              <a:latin typeface="+mn-lt"/>
              <a:ea typeface="+mn-ea"/>
              <a:cs typeface="+mn-cs"/>
            </a:endParaRP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Note:</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index_operational_stats</a:t>
            </a:r>
            <a:r>
              <a:rPr lang="en-US" sz="882" b="0" i="0" kern="1200" baseline="0">
                <a:solidFill>
                  <a:schemeClr val="tx1"/>
                </a:solidFill>
                <a:effectLst/>
                <a:latin typeface="+mn-lt"/>
                <a:ea typeface="+mn-ea"/>
                <a:cs typeface="+mn-cs"/>
              </a:rPr>
              <a:t> does not return information about memory-optimized indexes. For information about memory-optimized index use, see </a:t>
            </a:r>
            <a:r>
              <a:rPr lang="en-US" sz="882" b="1" i="0" u="sng" kern="1200" baseline="0">
                <a:solidFill>
                  <a:schemeClr val="tx1"/>
                </a:solidFill>
                <a:effectLst/>
                <a:latin typeface="+mn-lt"/>
                <a:ea typeface="+mn-ea"/>
                <a:cs typeface="+mn-cs"/>
                <a:hlinkClick r:id="rId3"/>
              </a:rPr>
              <a:t>sys.dm_db_xtp_index_stats (Transact-SQL)</a:t>
            </a:r>
            <a:r>
              <a:rPr lang="en-US" sz="882" b="0" i="0" kern="1200" baseline="0">
                <a:solidFill>
                  <a:schemeClr val="tx1"/>
                </a:solidFill>
                <a:effectLst/>
                <a:latin typeface="+mn-lt"/>
                <a:ea typeface="+mn-ea"/>
                <a:cs typeface="+mn-cs"/>
              </a:rPr>
              <a:t>.</a:t>
            </a: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endParaRPr lang="en-US" sz="882" b="0" i="0" kern="1200" baseline="0">
              <a:solidFill>
                <a:schemeClr val="tx1"/>
              </a:solidFill>
              <a:effectLst/>
              <a:latin typeface="+mn-lt"/>
              <a:ea typeface="+mn-ea"/>
              <a:cs typeface="+mn-cs"/>
            </a:endParaRPr>
          </a:p>
          <a:p>
            <a:pPr marL="210312" marR="0" lvl="1" indent="0" algn="l" defTabSz="914400" rtl="0" eaLnBrk="1" fontAlgn="auto" latinLnBrk="0" hangingPunct="1">
              <a:lnSpc>
                <a:spcPct val="90000"/>
              </a:lnSpc>
              <a:spcBef>
                <a:spcPts val="333"/>
              </a:spcBef>
              <a:spcAft>
                <a:spcPts val="0"/>
              </a:spcAft>
              <a:buClrTx/>
              <a:buSzTx/>
              <a:buFont typeface="Arial" panose="020B0604020202020204" pitchFamily="34" charset="0"/>
              <a:buNone/>
              <a:tabLst/>
              <a:defRPr/>
            </a:pPr>
            <a:r>
              <a:rPr lang="en-US" sz="882" b="0" i="0" kern="1200" baseline="0">
                <a:solidFill>
                  <a:schemeClr val="tx1"/>
                </a:solidFill>
                <a:effectLst/>
                <a:latin typeface="+mn-lt"/>
                <a:ea typeface="+mn-ea"/>
                <a:cs typeface="+mn-cs"/>
              </a:rPr>
              <a:t>References</a:t>
            </a:r>
            <a:r>
              <a:rPr lang="en-US">
                <a:hlinkClick r:id="rId4"/>
              </a:rPr>
              <a:t>https://docs.microsoft.com/en-us/sql/relational-databases/system-dynamic-management-views/sys-dm-db-index-operational-stats-transact-sql?view=sql-server-ver15</a:t>
            </a: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6</a:t>
            </a:fld>
            <a:endParaRPr lang="en-US" noProof="0"/>
          </a:p>
        </p:txBody>
      </p:sp>
    </p:spTree>
    <p:extLst>
      <p:ext uri="{BB962C8B-B14F-4D97-AF65-F5344CB8AC3E}">
        <p14:creationId xmlns:p14="http://schemas.microsoft.com/office/powerpoint/2010/main" val="28767002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a:p>
        </p:txBody>
      </p:sp>
    </p:spTree>
    <p:extLst>
      <p:ext uri="{BB962C8B-B14F-4D97-AF65-F5344CB8AC3E}">
        <p14:creationId xmlns:p14="http://schemas.microsoft.com/office/powerpoint/2010/main" val="12436059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hlinkClick r:id="rId3"/>
              </a:rPr>
              <a:t>sys.dm_db_index_physical_stats</a:t>
            </a:r>
            <a:r>
              <a:rPr lang="en-US" dirty="0">
                <a:hlinkClick r:id="rId3"/>
              </a:rPr>
              <a:t> (Transact-SQL) - SQL Server | Microsoft Docs</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7</a:t>
            </a:fld>
            <a:endParaRPr lang="en-US" noProof="0"/>
          </a:p>
        </p:txBody>
      </p:sp>
    </p:spTree>
    <p:extLst>
      <p:ext uri="{BB962C8B-B14F-4D97-AF65-F5344CB8AC3E}">
        <p14:creationId xmlns:p14="http://schemas.microsoft.com/office/powerpoint/2010/main" val="1858337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Key Points:</a:t>
            </a:r>
          </a:p>
          <a:p>
            <a:endParaRPr lang="en-US" dirty="0"/>
          </a:p>
          <a:p>
            <a:pPr lvl="1"/>
            <a:r>
              <a:rPr lang="en-US" dirty="0"/>
              <a:t>Fragmentation will be covered in detail in coming lessons.</a:t>
            </a:r>
          </a:p>
          <a:p>
            <a:endParaRPr lang="en-US" dirty="0"/>
          </a:p>
          <a:p>
            <a:endParaRPr lang="en-US" dirty="0"/>
          </a:p>
          <a:p>
            <a:r>
              <a:rPr lang="en-US" dirty="0"/>
              <a:t>References :</a:t>
            </a:r>
          </a:p>
          <a:p>
            <a:endParaRPr lang="en-US" dirty="0"/>
          </a:p>
          <a:p>
            <a:r>
              <a:rPr lang="en-US" dirty="0"/>
              <a:t> </a:t>
            </a:r>
            <a:r>
              <a:rPr lang="en-US" dirty="0">
                <a:hlinkClick r:id="rId3"/>
              </a:rPr>
              <a:t>https://social.technet.microsoft.com/wiki/contents/articles/40339.sql-server-what-is-fragmentation.aspx</a:t>
            </a:r>
            <a:endParaRPr lang="en-US" dirty="0"/>
          </a:p>
          <a:p>
            <a:endParaRPr lang="en-US" dirty="0"/>
          </a:p>
          <a:p>
            <a:r>
              <a:rPr lang="en-US" b="0" dirty="0">
                <a:hlinkClick r:id="rId4"/>
              </a:rPr>
              <a:t>https://docs.microsoft.com/en-us/sql/relational-databases/pages-and-extents-architecture-guide?view=sql-server-ver15</a:t>
            </a:r>
            <a:endParaRPr lang="en-US" b="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8</a:t>
            </a:fld>
            <a:endParaRPr lang="en-US" noProof="0"/>
          </a:p>
        </p:txBody>
      </p:sp>
    </p:spTree>
    <p:extLst>
      <p:ext uri="{BB962C8B-B14F-4D97-AF65-F5344CB8AC3E}">
        <p14:creationId xmlns:p14="http://schemas.microsoft.com/office/powerpoint/2010/main" val="42292652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Key Points:</a:t>
            </a:r>
          </a:p>
          <a:p>
            <a:endParaRPr lang="en-US" dirty="0"/>
          </a:p>
          <a:p>
            <a:pPr lvl="1"/>
            <a:r>
              <a:rPr lang="en-US" dirty="0"/>
              <a:t>Fragmentation will be covered in detail in coming lessons.</a:t>
            </a:r>
          </a:p>
          <a:p>
            <a:endParaRPr lang="en-US" dirty="0"/>
          </a:p>
          <a:p>
            <a:endParaRPr lang="en-US" dirty="0"/>
          </a:p>
          <a:p>
            <a:r>
              <a:rPr lang="en-US" dirty="0"/>
              <a:t>References :</a:t>
            </a:r>
          </a:p>
          <a:p>
            <a:endParaRPr lang="en-US" dirty="0"/>
          </a:p>
          <a:p>
            <a:r>
              <a:rPr lang="en-US" dirty="0"/>
              <a:t> </a:t>
            </a:r>
            <a:r>
              <a:rPr lang="en-US" dirty="0">
                <a:hlinkClick r:id="rId3"/>
              </a:rPr>
              <a:t>https://social.technet.microsoft.com/wiki/contents/articles/40339.sql-server-what-is-fragmentation.aspx</a:t>
            </a:r>
            <a:endParaRPr lang="en-US" dirty="0"/>
          </a:p>
          <a:p>
            <a:endParaRPr lang="en-US" dirty="0"/>
          </a:p>
          <a:p>
            <a:r>
              <a:rPr lang="en-US" b="0" dirty="0">
                <a:hlinkClick r:id="rId4"/>
              </a:rPr>
              <a:t>https://docs.microsoft.com/en-us/sql/relational-databases/pages-and-extents-architecture-guide?view=sql-server-ver15</a:t>
            </a:r>
            <a:endParaRPr lang="en-US" b="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39</a:t>
            </a:fld>
            <a:endParaRPr lang="en-US" noProof="0"/>
          </a:p>
        </p:txBody>
      </p:sp>
    </p:spTree>
    <p:extLst>
      <p:ext uri="{BB962C8B-B14F-4D97-AF65-F5344CB8AC3E}">
        <p14:creationId xmlns:p14="http://schemas.microsoft.com/office/powerpoint/2010/main" val="18039383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Reading Pages - SQL Server | Microsoft Docs</a:t>
            </a:r>
            <a:endParaRPr lang="en-US" b="0"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0</a:t>
            </a:fld>
            <a:endParaRPr lang="en-US" noProof="0"/>
          </a:p>
        </p:txBody>
      </p:sp>
    </p:spTree>
    <p:extLst>
      <p:ext uri="{BB962C8B-B14F-4D97-AF65-F5344CB8AC3E}">
        <p14:creationId xmlns:p14="http://schemas.microsoft.com/office/powerpoint/2010/main" val="14205136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b="1" dirty="0"/>
              <a:t>Maintenance</a:t>
            </a:r>
            <a:r>
              <a:rPr lang="en-US" b="1" baseline="0" dirty="0"/>
              <a:t> plans are simple options</a:t>
            </a:r>
            <a:r>
              <a:rPr lang="en-US" baseline="0" dirty="0"/>
              <a:t>, but they do not scale well. </a:t>
            </a:r>
          </a:p>
          <a:p>
            <a:pPr lvl="2"/>
            <a:r>
              <a:rPr lang="en-US" baseline="0" dirty="0"/>
              <a:t>All indexes in a database will be maintained, whether they need to be or not.  </a:t>
            </a:r>
          </a:p>
          <a:p>
            <a:pPr marL="171450" indent="-171450">
              <a:buFont typeface="Arial" panose="020B0604020202020204" pitchFamily="34" charset="0"/>
              <a:buChar char="•"/>
            </a:pPr>
            <a:r>
              <a:rPr lang="en-US" b="1" baseline="0" dirty="0"/>
              <a:t>To manage a manual approach</a:t>
            </a:r>
            <a:r>
              <a:rPr lang="en-US" baseline="0" dirty="0"/>
              <a:t>, you</a:t>
            </a:r>
            <a:r>
              <a:rPr lang="en-US" dirty="0"/>
              <a:t> will</a:t>
            </a:r>
            <a:r>
              <a:rPr lang="en-US" baseline="0" dirty="0"/>
              <a:t> generally follow two steps:  </a:t>
            </a:r>
          </a:p>
          <a:p>
            <a:pPr marL="381762" lvl="1" indent="-171450">
              <a:buFont typeface="Arial" panose="020B0604020202020204" pitchFamily="34" charset="0"/>
              <a:buChar char="•"/>
            </a:pPr>
            <a:r>
              <a:rPr lang="en-US" baseline="0" dirty="0"/>
              <a:t>Use a DMV to calculate the fragmentation for each index.</a:t>
            </a:r>
          </a:p>
          <a:p>
            <a:pPr marL="381762" lvl="1" indent="-171450">
              <a:buFont typeface="Arial" panose="020B0604020202020204" pitchFamily="34" charset="0"/>
              <a:buChar char="•"/>
            </a:pPr>
            <a:r>
              <a:rPr lang="en-US" dirty="0"/>
              <a:t>Wr</a:t>
            </a:r>
            <a:r>
              <a:rPr lang="en-US" baseline="0" dirty="0"/>
              <a:t>ite a script to loop over the results and maintain the indexes that need it.  </a:t>
            </a:r>
          </a:p>
          <a:p>
            <a:pPr marL="228600" lvl="0" indent="-228600">
              <a:buFont typeface="Arial" panose="020B0604020202020204" pitchFamily="34" charset="0"/>
              <a:buChar char="•"/>
            </a:pPr>
            <a:r>
              <a:rPr lang="en-US" b="1" baseline="0" dirty="0"/>
              <a:t>Remove index Fragmentation</a:t>
            </a:r>
          </a:p>
          <a:p>
            <a:pPr marL="438912" lvl="1" indent="-228600">
              <a:buFont typeface="Arial" panose="020B0604020202020204" pitchFamily="34" charset="0"/>
              <a:buChar char="•"/>
            </a:pPr>
            <a:r>
              <a:rPr lang="en-US" u="sng" baseline="0" dirty="0"/>
              <a:t>Rebuild</a:t>
            </a:r>
            <a:r>
              <a:rPr lang="en-US" baseline="0" dirty="0"/>
              <a:t> - </a:t>
            </a:r>
            <a:r>
              <a:rPr lang="en-US" sz="882" b="0" i="0" kern="1200" baseline="0" dirty="0">
                <a:solidFill>
                  <a:schemeClr val="tx1"/>
                </a:solidFill>
                <a:effectLst/>
                <a:latin typeface="+mn-lt"/>
                <a:ea typeface="+mn-ea"/>
                <a:cs typeface="+mn-cs"/>
              </a:rPr>
              <a:t>Drops and re-creates the index. </a:t>
            </a:r>
          </a:p>
          <a:p>
            <a:pPr marL="784098" lvl="4" indent="-171450"/>
            <a:r>
              <a:rPr lang="en-US" sz="882" b="0" i="0" kern="1200" baseline="0" dirty="0">
                <a:solidFill>
                  <a:schemeClr val="tx1"/>
                </a:solidFill>
                <a:effectLst/>
                <a:latin typeface="+mn-lt"/>
                <a:ea typeface="+mn-ea"/>
                <a:cs typeface="+mn-cs"/>
              </a:rPr>
              <a:t>For </a:t>
            </a:r>
            <a:r>
              <a:rPr lang="en-US" sz="882" b="1" i="0" kern="1200" baseline="0" dirty="0" err="1">
                <a:solidFill>
                  <a:schemeClr val="tx1"/>
                </a:solidFill>
                <a:effectLst/>
                <a:latin typeface="+mn-lt"/>
                <a:ea typeface="+mn-ea"/>
                <a:cs typeface="+mn-cs"/>
              </a:rPr>
              <a:t>rowstore</a:t>
            </a:r>
            <a:r>
              <a:rPr lang="en-US" sz="882" b="0" i="0" kern="1200" baseline="0" dirty="0">
                <a:solidFill>
                  <a:schemeClr val="tx1"/>
                </a:solidFill>
                <a:effectLst/>
                <a:latin typeface="+mn-lt"/>
                <a:ea typeface="+mn-ea"/>
                <a:cs typeface="+mn-cs"/>
              </a:rPr>
              <a:t> indexes, rebuilding removes fragmentation, reclaims disk space by compacting the pages based on the specified or existing fill factor setting, and reorders the index rows in contiguous pages.</a:t>
            </a:r>
          </a:p>
          <a:p>
            <a:pPr marL="784098" lvl="4" indent="-171450"/>
            <a:r>
              <a:rPr lang="en-US" sz="882" b="0" i="0" kern="1200" baseline="0" dirty="0">
                <a:solidFill>
                  <a:schemeClr val="tx1"/>
                </a:solidFill>
                <a:effectLst/>
                <a:latin typeface="+mn-lt"/>
                <a:ea typeface="+mn-ea"/>
                <a:cs typeface="+mn-cs"/>
              </a:rPr>
              <a:t>For </a:t>
            </a:r>
            <a:r>
              <a:rPr lang="en-US" sz="882" b="1" i="0" kern="1200" baseline="0" dirty="0">
                <a:solidFill>
                  <a:schemeClr val="tx1"/>
                </a:solidFill>
                <a:effectLst/>
                <a:latin typeface="+mn-lt"/>
                <a:ea typeface="+mn-ea"/>
                <a:cs typeface="+mn-cs"/>
              </a:rPr>
              <a:t>columnstore</a:t>
            </a:r>
            <a:r>
              <a:rPr lang="en-US" sz="882" b="0" i="0" kern="1200" baseline="0" dirty="0">
                <a:solidFill>
                  <a:schemeClr val="tx1"/>
                </a:solidFill>
                <a:effectLst/>
                <a:latin typeface="+mn-lt"/>
                <a:ea typeface="+mn-ea"/>
                <a:cs typeface="+mn-cs"/>
              </a:rPr>
              <a:t> indexes, rebuilding removes fragmentation, moves all rows into the columnstore, and reclaims disk space by physically deleting rows that have been logically deleted from the table.</a:t>
            </a:r>
            <a:endParaRPr lang="en-US" baseline="0" dirty="0"/>
          </a:p>
          <a:p>
            <a:pPr marL="438912" lvl="1" indent="-228600">
              <a:buFont typeface="Arial" panose="020B0604020202020204" pitchFamily="34" charset="0"/>
              <a:buChar char="•"/>
            </a:pPr>
            <a:r>
              <a:rPr lang="en-US" u="sng" baseline="0" dirty="0"/>
              <a:t>Reorganize</a:t>
            </a:r>
            <a:r>
              <a:rPr lang="en-US" baseline="0" dirty="0"/>
              <a:t> - </a:t>
            </a:r>
            <a:r>
              <a:rPr lang="en-US" sz="882" b="0" i="0" kern="1200" baseline="0" dirty="0">
                <a:solidFill>
                  <a:schemeClr val="tx1"/>
                </a:solidFill>
                <a:effectLst/>
                <a:latin typeface="+mn-lt"/>
                <a:ea typeface="+mn-ea"/>
                <a:cs typeface="+mn-cs"/>
              </a:rPr>
              <a:t>Uses minimal system resources and is an online operation. No long-term blocking table locks. it defragments the leaf level of clustered and nonclustered indexes on tables and views by physically reordering the leaf-level pages to match the logical, left to right, order of the leaf nodes.</a:t>
            </a:r>
            <a:endParaRPr lang="en-US" baseline="0" dirty="0"/>
          </a:p>
          <a:p>
            <a:r>
              <a:rPr lang="en-US" b="1" baseline="0" dirty="0"/>
              <a:t>Recommendations </a:t>
            </a:r>
          </a:p>
          <a:p>
            <a:pPr lvl="4"/>
            <a:r>
              <a:rPr lang="en-US" b="1" i="1" dirty="0" err="1">
                <a:effectLst/>
              </a:rPr>
              <a:t>avg_fragmentation_in_percent</a:t>
            </a:r>
            <a:r>
              <a:rPr lang="en-US" i="1" dirty="0"/>
              <a:t> value	Corrective statement</a:t>
            </a:r>
          </a:p>
          <a:p>
            <a:pPr marL="612648" lvl="4" indent="0">
              <a:buFont typeface="Wingdings" panose="05000000000000000000" pitchFamily="2" charset="2"/>
              <a:buNone/>
            </a:pPr>
            <a:r>
              <a:rPr lang="en-US" dirty="0">
                <a:effectLst/>
              </a:rPr>
              <a:t>&gt;5% and &lt; = 30%			ALTER INDEX REORGANIZE</a:t>
            </a:r>
          </a:p>
          <a:p>
            <a:pPr marL="612648" lvl="4" indent="0">
              <a:buFont typeface="Wingdings" panose="05000000000000000000" pitchFamily="2" charset="2"/>
              <a:buNone/>
            </a:pPr>
            <a:r>
              <a:rPr lang="en-US" dirty="0">
                <a:effectLst/>
              </a:rPr>
              <a:t>&gt; 30%			ALTER INDEX REBUILD WITH (ONLINE = ON/OFF)</a:t>
            </a:r>
            <a:endParaRPr lang="en-US" baseline="0" dirty="0"/>
          </a:p>
          <a:p>
            <a:r>
              <a:rPr lang="en-US" sz="900" dirty="0"/>
              <a:t>=============</a:t>
            </a:r>
          </a:p>
          <a:p>
            <a:r>
              <a:rPr lang="en-US" sz="900" b="1" dirty="0"/>
              <a:t>More Information</a:t>
            </a:r>
          </a:p>
          <a:p>
            <a:r>
              <a:rPr lang="en-US" sz="900" dirty="0"/>
              <a:t>=============</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900" b="1" dirty="0">
                <a:solidFill>
                  <a:schemeClr val="accent5">
                    <a:lumMod val="75000"/>
                  </a:schemeClr>
                </a:solidFill>
                <a:latin typeface="Consolas" panose="020B0609020204030204" pitchFamily="49" charset="0"/>
              </a:rPr>
              <a:t>DMV</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sz="900" b="1" dirty="0">
              <a:solidFill>
                <a:schemeClr val="accent5">
                  <a:lumMod val="75000"/>
                </a:schemeClr>
              </a:solidFill>
              <a:latin typeface="Consolas" panose="020B0609020204030204" pitchFamily="49" charset="0"/>
            </a:endParaRP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sz="900" b="1" dirty="0" err="1">
                <a:solidFill>
                  <a:schemeClr val="accent5">
                    <a:lumMod val="75000"/>
                  </a:schemeClr>
                </a:solidFill>
                <a:latin typeface="Consolas" panose="020B0609020204030204" pitchFamily="49" charset="0"/>
              </a:rPr>
              <a:t>Sys.dm_db_index_physical_stats</a:t>
            </a:r>
            <a:endParaRPr lang="en-US" sz="900" b="1" dirty="0">
              <a:solidFill>
                <a:schemeClr val="accent5">
                  <a:lumMod val="75000"/>
                </a:schemeClr>
              </a:solidFill>
              <a:latin typeface="Consolas" panose="020B0609020204030204" pitchFamily="49" charset="0"/>
            </a:endParaRPr>
          </a:p>
          <a:p>
            <a:pPr marL="210312" marR="0" lvl="1"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 { </a:t>
            </a:r>
            <a:r>
              <a:rPr lang="en-US" sz="882" b="0" i="0" kern="1200" baseline="0" dirty="0" err="1">
                <a:solidFill>
                  <a:schemeClr val="tx1"/>
                </a:solidFill>
                <a:effectLst/>
                <a:latin typeface="+mn-lt"/>
                <a:ea typeface="+mn-ea"/>
                <a:cs typeface="+mn-cs"/>
              </a:rPr>
              <a:t>database_id</a:t>
            </a:r>
            <a:r>
              <a:rPr lang="en-US" sz="882" b="0" i="0" kern="1200" baseline="0" dirty="0">
                <a:solidFill>
                  <a:schemeClr val="tx1"/>
                </a:solidFill>
                <a:effectLst/>
                <a:latin typeface="+mn-lt"/>
                <a:ea typeface="+mn-ea"/>
                <a:cs typeface="+mn-cs"/>
              </a:rPr>
              <a:t> | NULL | 0 | DEFAULT } , { </a:t>
            </a:r>
            <a:r>
              <a:rPr lang="en-US" sz="882" b="0" i="0" kern="1200" baseline="0" dirty="0" err="1">
                <a:solidFill>
                  <a:schemeClr val="tx1"/>
                </a:solidFill>
                <a:effectLst/>
                <a:latin typeface="+mn-lt"/>
                <a:ea typeface="+mn-ea"/>
                <a:cs typeface="+mn-cs"/>
              </a:rPr>
              <a:t>object_id</a:t>
            </a:r>
            <a:r>
              <a:rPr lang="en-US" sz="882" b="0" i="0" kern="1200" baseline="0" dirty="0">
                <a:solidFill>
                  <a:schemeClr val="tx1"/>
                </a:solidFill>
                <a:effectLst/>
                <a:latin typeface="+mn-lt"/>
                <a:ea typeface="+mn-ea"/>
                <a:cs typeface="+mn-cs"/>
              </a:rPr>
              <a:t> | NULL | 0 | DEFAULT } , { </a:t>
            </a:r>
            <a:r>
              <a:rPr lang="en-US" sz="882" b="0" i="0" kern="1200" baseline="0" dirty="0" err="1">
                <a:solidFill>
                  <a:schemeClr val="tx1"/>
                </a:solidFill>
                <a:effectLst/>
                <a:latin typeface="+mn-lt"/>
                <a:ea typeface="+mn-ea"/>
                <a:cs typeface="+mn-cs"/>
              </a:rPr>
              <a:t>index_id</a:t>
            </a:r>
            <a:r>
              <a:rPr lang="en-US" sz="882" b="0" i="0" kern="1200" baseline="0" dirty="0">
                <a:solidFill>
                  <a:schemeClr val="tx1"/>
                </a:solidFill>
                <a:effectLst/>
                <a:latin typeface="+mn-lt"/>
                <a:ea typeface="+mn-ea"/>
                <a:cs typeface="+mn-cs"/>
              </a:rPr>
              <a:t> | NULL | 0 | -1 | DEFAULT } , { </a:t>
            </a:r>
            <a:r>
              <a:rPr lang="en-US" sz="882" b="0" i="0" kern="1200" baseline="0" dirty="0" err="1">
                <a:solidFill>
                  <a:schemeClr val="tx1"/>
                </a:solidFill>
                <a:effectLst/>
                <a:latin typeface="+mn-lt"/>
                <a:ea typeface="+mn-ea"/>
                <a:cs typeface="+mn-cs"/>
              </a:rPr>
              <a:t>partition_number</a:t>
            </a:r>
            <a:r>
              <a:rPr lang="en-US" sz="882" b="0" i="0" kern="1200" baseline="0" dirty="0">
                <a:solidFill>
                  <a:schemeClr val="tx1"/>
                </a:solidFill>
                <a:effectLst/>
                <a:latin typeface="+mn-lt"/>
                <a:ea typeface="+mn-ea"/>
                <a:cs typeface="+mn-cs"/>
              </a:rPr>
              <a:t> | NULL | 0 | DEFAULT } , { </a:t>
            </a:r>
            <a:r>
              <a:rPr lang="en-US" sz="882" b="1" i="0" kern="1200" baseline="0" dirty="0">
                <a:solidFill>
                  <a:schemeClr val="tx1"/>
                </a:solidFill>
                <a:effectLst/>
                <a:latin typeface="+mn-lt"/>
                <a:ea typeface="+mn-ea"/>
                <a:cs typeface="+mn-cs"/>
              </a:rPr>
              <a:t>mode</a:t>
            </a:r>
            <a:r>
              <a:rPr lang="en-US" sz="882" b="0" i="0" kern="1200" baseline="0" dirty="0">
                <a:solidFill>
                  <a:schemeClr val="tx1"/>
                </a:solidFill>
                <a:effectLst/>
                <a:latin typeface="+mn-lt"/>
                <a:ea typeface="+mn-ea"/>
                <a:cs typeface="+mn-cs"/>
              </a:rPr>
              <a:t> | NULL | DEFAULT } ) </a:t>
            </a:r>
          </a:p>
          <a:p>
            <a:pPr marL="210312" marR="0" lvl="1" indent="0" algn="l" defTabSz="914400" rtl="0" eaLnBrk="1" fontAlgn="auto" latinLnBrk="0" hangingPunct="1">
              <a:lnSpc>
                <a:spcPct val="90000"/>
              </a:lnSpc>
              <a:spcBef>
                <a:spcPts val="333"/>
              </a:spcBef>
              <a:spcAft>
                <a:spcPts val="0"/>
              </a:spcAft>
              <a:buClrTx/>
              <a:buSzTx/>
              <a:buFontTx/>
              <a:buNone/>
              <a:tabLst/>
              <a:defRPr/>
            </a:pPr>
            <a:endParaRPr lang="en-US" sz="882" b="0" i="0" kern="1200" baseline="0" dirty="0">
              <a:solidFill>
                <a:schemeClr val="tx1"/>
              </a:solidFill>
              <a:effectLst/>
              <a:latin typeface="+mn-lt"/>
              <a:ea typeface="+mn-ea"/>
              <a:cs typeface="+mn-cs"/>
            </a:endParaRPr>
          </a:p>
          <a:p>
            <a:pPr marL="381762" marR="0" lvl="1" indent="-171450" algn="l" defTabSz="914400" rtl="0" eaLnBrk="1" fontAlgn="auto" latinLnBrk="0" hangingPunct="1">
              <a:lnSpc>
                <a:spcPct val="90000"/>
              </a:lnSpc>
              <a:spcBef>
                <a:spcPts val="333"/>
              </a:spcBef>
              <a:spcAft>
                <a:spcPts val="0"/>
              </a:spcAft>
              <a:buClrTx/>
              <a:buSzTx/>
              <a:buFont typeface="Wingdings" panose="05000000000000000000" pitchFamily="2" charset="2"/>
              <a:buChar char="§"/>
              <a:tabLst/>
              <a:defRPr/>
            </a:pPr>
            <a:r>
              <a:rPr lang="en-US" sz="882" b="0" i="0" kern="1200" baseline="0" dirty="0" err="1">
                <a:solidFill>
                  <a:schemeClr val="tx1"/>
                </a:solidFill>
                <a:effectLst/>
                <a:latin typeface="+mn-lt"/>
                <a:ea typeface="+mn-ea"/>
                <a:cs typeface="+mn-cs"/>
              </a:rPr>
              <a:t>sys.dm_db_index_physical_stats</a:t>
            </a:r>
            <a:r>
              <a:rPr lang="en-US" sz="882" b="0" i="0" kern="1200" baseline="0" dirty="0">
                <a:solidFill>
                  <a:schemeClr val="tx1"/>
                </a:solidFill>
                <a:effectLst/>
                <a:latin typeface="+mn-lt"/>
                <a:ea typeface="+mn-ea"/>
                <a:cs typeface="+mn-cs"/>
              </a:rPr>
              <a:t> requires </a:t>
            </a:r>
            <a:r>
              <a:rPr lang="en-US" sz="882" b="1" i="0" kern="1200" baseline="0" dirty="0">
                <a:solidFill>
                  <a:schemeClr val="tx1"/>
                </a:solidFill>
                <a:effectLst/>
                <a:latin typeface="+mn-lt"/>
                <a:ea typeface="+mn-ea"/>
                <a:cs typeface="+mn-cs"/>
              </a:rPr>
              <a:t>only an Intent-Shared (IS) table lock</a:t>
            </a:r>
            <a:r>
              <a:rPr lang="en-US" sz="882" b="0" i="0" kern="1200" baseline="0" dirty="0">
                <a:solidFill>
                  <a:schemeClr val="tx1"/>
                </a:solidFill>
                <a:effectLst/>
                <a:latin typeface="+mn-lt"/>
                <a:ea typeface="+mn-ea"/>
                <a:cs typeface="+mn-cs"/>
              </a:rPr>
              <a:t>, regardless of the mode that it runs in.</a:t>
            </a:r>
            <a:endParaRPr lang="en-US" sz="900" dirty="0">
              <a:solidFill>
                <a:schemeClr val="accent5">
                  <a:lumMod val="75000"/>
                </a:schemeClr>
              </a:solidFill>
              <a:latin typeface="Consolas" panose="020B0609020204030204" pitchFamily="49" charset="0"/>
            </a:endParaRPr>
          </a:p>
          <a:p>
            <a:endParaRPr lang="en-US" dirty="0"/>
          </a:p>
          <a:p>
            <a:pPr marL="500634" marR="0" lvl="2" indent="-171450" algn="l" defTabSz="914400" rtl="0" eaLnBrk="1" fontAlgn="auto" latinLnBrk="0" hangingPunct="1">
              <a:lnSpc>
                <a:spcPct val="90000"/>
              </a:lnSpc>
              <a:spcBef>
                <a:spcPts val="333"/>
              </a:spcBef>
              <a:spcAft>
                <a:spcPts val="0"/>
              </a:spcAft>
              <a:buClrTx/>
              <a:buSzTx/>
              <a:tabLst/>
              <a:defRPr/>
            </a:pPr>
            <a:r>
              <a:rPr lang="en-US" sz="882" b="1" i="0" kern="1200" baseline="0" dirty="0">
                <a:solidFill>
                  <a:schemeClr val="tx1"/>
                </a:solidFill>
                <a:effectLst/>
                <a:latin typeface="+mn-lt"/>
                <a:ea typeface="+mn-ea"/>
                <a:cs typeface="+mn-cs"/>
              </a:rPr>
              <a:t>Scanning Modes</a:t>
            </a:r>
            <a:r>
              <a:rPr lang="en-US" dirty="0"/>
              <a:t>:    LIMITED, SAMPLED or DETAILED</a:t>
            </a:r>
          </a:p>
          <a:p>
            <a:pPr marL="329184" lvl="2" indent="-109728"/>
            <a:endParaRPr lang="en-US" dirty="0"/>
          </a:p>
          <a:p>
            <a:pPr marL="484632" lvl="3" indent="-118872"/>
            <a:r>
              <a:rPr lang="en-US" b="1" dirty="0"/>
              <a:t>The LIMITED mode is the fastest mode and scans the smallest number of pages</a:t>
            </a:r>
            <a:r>
              <a:rPr lang="en-US" dirty="0"/>
              <a:t>. For an index, only the parent-level pages of the B-tree (that is, the pages above the leaf level) are scanned. For a heap, the associated PFS and IAM pages are examined and the data pages of a heap are scanned in LIMITED mode.</a:t>
            </a:r>
          </a:p>
          <a:p>
            <a:pPr marL="484632" lvl="3" indent="-118872"/>
            <a:endParaRPr lang="en-US" dirty="0"/>
          </a:p>
          <a:p>
            <a:pPr marL="484632" lvl="3" indent="-118872"/>
            <a:r>
              <a:rPr lang="en-US" dirty="0"/>
              <a:t>The </a:t>
            </a:r>
            <a:r>
              <a:rPr lang="en-US" b="1" dirty="0"/>
              <a:t>SAMPLED mode returns statistics based on a 1 percent sample of all the pages in the index or heap. </a:t>
            </a:r>
            <a:r>
              <a:rPr lang="en-US" dirty="0"/>
              <a:t>Results in SAMPLED mode should be regarded as approximate. If the index or heap has fewer than 10,000 pages, DETAILED mode is used, instead of SAMPLED.</a:t>
            </a:r>
          </a:p>
          <a:p>
            <a:pPr marL="484632" lvl="3" indent="-118872"/>
            <a:r>
              <a:rPr lang="en-US" dirty="0"/>
              <a:t>The DETAILED mode scans all pages and returns all statistics – both fragmentation</a:t>
            </a:r>
            <a:r>
              <a:rPr lang="en-US" baseline="0" dirty="0"/>
              <a:t> as well as free space available on the index.</a:t>
            </a:r>
            <a:endParaRPr lang="en-US" dirty="0"/>
          </a:p>
          <a:p>
            <a:pPr marL="484632" lvl="3" indent="-118872"/>
            <a:r>
              <a:rPr lang="en-US" dirty="0"/>
              <a:t>The modes are progressively slower from LIMITED to DETAILED, because more work is performed in each mode.</a:t>
            </a:r>
          </a:p>
          <a:p>
            <a:pPr marL="484632" lvl="3" indent="-118872"/>
            <a:r>
              <a:rPr lang="en-US" dirty="0"/>
              <a:t>It is rare to</a:t>
            </a:r>
            <a:r>
              <a:rPr lang="en-US" baseline="0" dirty="0"/>
              <a:t> use </a:t>
            </a:r>
            <a:r>
              <a:rPr lang="en-US" b="1" baseline="0" dirty="0"/>
              <a:t>DETAILED mode in larger databases, because it requires reading all the pages in the database. </a:t>
            </a:r>
            <a:r>
              <a:rPr lang="en-US" baseline="0" dirty="0"/>
              <a:t>Therefore, database administrators (DBAs) often are unaware of how much free space is currently available in indexes.  </a:t>
            </a:r>
          </a:p>
          <a:p>
            <a:pPr lvl="1"/>
            <a:endParaRPr lang="en-US" baseline="0" dirty="0"/>
          </a:p>
          <a:p>
            <a:pPr marL="100584" lvl="1" indent="0">
              <a:buNone/>
            </a:pPr>
            <a:r>
              <a:rPr lang="en-US" baseline="0" dirty="0"/>
              <a:t>For a good example of the logic required to write a custom solution, see </a:t>
            </a:r>
            <a:r>
              <a:rPr lang="en-US" i="1" baseline="0" dirty="0"/>
              <a:t>https://ola.hallengren.com</a:t>
            </a:r>
            <a:r>
              <a:rPr lang="en-US" b="1" i="1" baseline="0" dirty="0"/>
              <a:t>/</a:t>
            </a:r>
          </a:p>
          <a:p>
            <a:pPr marL="100584" lvl="1" indent="0">
              <a:buNone/>
            </a:pPr>
            <a:endParaRPr lang="en-US" dirty="0"/>
          </a:p>
          <a:p>
            <a:pPr marL="171450" indent="-171450">
              <a:buFont typeface="Arial" panose="020B0604020202020204" pitchFamily="34" charset="0"/>
              <a:buChar char="•"/>
            </a:pPr>
            <a:r>
              <a:rPr lang="en-US" b="1" dirty="0"/>
              <a:t>Rebuilding indexes</a:t>
            </a:r>
            <a:r>
              <a:rPr lang="en-US" b="1" baseline="0" dirty="0"/>
              <a:t> </a:t>
            </a:r>
            <a:r>
              <a:rPr lang="en-US" baseline="0" dirty="0"/>
              <a:t>accomplishes much more than reorganizing, but that comes at a cost.</a:t>
            </a:r>
          </a:p>
          <a:p>
            <a:pPr lvl="2"/>
            <a:r>
              <a:rPr lang="en-US" b="1" baseline="0" dirty="0"/>
              <a:t>Rebuilds are more intensive, potentially using </a:t>
            </a:r>
            <a:r>
              <a:rPr lang="en-US" b="1" baseline="0" dirty="0" err="1"/>
              <a:t>tempdb</a:t>
            </a:r>
            <a:r>
              <a:rPr lang="en-US" b="1" baseline="0" dirty="0"/>
              <a:t> resources, causing high I/O, and causing log growth</a:t>
            </a:r>
            <a:r>
              <a:rPr lang="en-US" baseline="0" dirty="0"/>
              <a:t>. The larger the table, the more likely these are to become issues. This</a:t>
            </a:r>
            <a:r>
              <a:rPr lang="en-US" dirty="0"/>
              <a:t> is </a:t>
            </a:r>
            <a:r>
              <a:rPr lang="en-US" baseline="0" dirty="0"/>
              <a:t>because rebuilding indexes moves all the data on the pages around, in order to eliminate free space. This is done in a single transaction, which can cause the log to fill.  </a:t>
            </a:r>
          </a:p>
          <a:p>
            <a:pPr marL="171450" indent="-171450">
              <a:buFont typeface="Arial" panose="020B0604020202020204" pitchFamily="34" charset="0"/>
              <a:buChar char="•"/>
            </a:pPr>
            <a:r>
              <a:rPr lang="en-US" b="1" baseline="0" dirty="0"/>
              <a:t> Reorganize </a:t>
            </a:r>
          </a:p>
          <a:p>
            <a:pPr lvl="2"/>
            <a:r>
              <a:rPr lang="en-US" baseline="0" dirty="0"/>
              <a:t>In contrast, reorganize works by locking two pages that are out of order, swapping them, and then releasing the locks. This is a very quick process, and each swap is a separate transaction.  </a:t>
            </a:r>
          </a:p>
          <a:p>
            <a:pPr lvl="2"/>
            <a:r>
              <a:rPr lang="en-US" baseline="0" dirty="0"/>
              <a:t>Like most processes that work “one at a time”, </a:t>
            </a:r>
            <a:r>
              <a:rPr lang="en-US" b="1" baseline="0" dirty="0"/>
              <a:t>reorganizes can take longer than rebuilds</a:t>
            </a:r>
            <a:r>
              <a:rPr lang="en-US" baseline="0" dirty="0"/>
              <a:t>. Therefore, reorganizes typically are </a:t>
            </a:r>
            <a:r>
              <a:rPr lang="en-US" b="1" baseline="0" dirty="0"/>
              <a:t>saved for indexes that are less than 30% fragmented</a:t>
            </a:r>
            <a:r>
              <a:rPr lang="en-US" baseline="0" dirty="0"/>
              <a:t>. In these cases, the reduced IO requirements (&lt;30% of all pages</a:t>
            </a:r>
            <a:r>
              <a:rPr lang="en-US" dirty="0"/>
              <a:t> versus</a:t>
            </a:r>
            <a:r>
              <a:rPr lang="en-US" baseline="0" dirty="0"/>
              <a:t> 100% of pages for rebuilds) keeps the impact of the reduced efficiency in check. </a:t>
            </a:r>
          </a:p>
          <a:p>
            <a:r>
              <a:rPr lang="en-US" baseline="0" dirty="0"/>
              <a:t> </a:t>
            </a:r>
          </a:p>
          <a:p>
            <a:r>
              <a:rPr lang="en-US" b="1" u="sng" baseline="0" dirty="0"/>
              <a:t>Note</a:t>
            </a:r>
            <a:r>
              <a:rPr lang="en-US" baseline="0" dirty="0"/>
              <a:t> that REORGANIZE does not remove free space. </a:t>
            </a:r>
            <a:r>
              <a:rPr lang="en-US" b="1" baseline="0" dirty="0"/>
              <a:t>If DBAs maintain indexes well, many indexes may never reach 30% fragmentation</a:t>
            </a:r>
            <a:r>
              <a:rPr lang="en-US" baseline="0" dirty="0"/>
              <a:t>. Therefore, they never get rebuilt, and free space can grow significantly over time. </a:t>
            </a:r>
            <a:r>
              <a:rPr lang="en-US" u="sng" baseline="0" dirty="0"/>
              <a:t>Because the physical stats DMV is rarely run in DETAILED mode, free space problems are rarely observed</a:t>
            </a:r>
            <a:r>
              <a:rPr lang="en-US" u="none" baseline="0" dirty="0"/>
              <a:t>.</a:t>
            </a:r>
            <a:r>
              <a:rPr lang="en-US" baseline="0" dirty="0"/>
              <a:t> It may be a good idea to check for free space occasionally, or track indexes that are not rebuilt, so that they can be manually rebuilt over time to reclaim free space.</a:t>
            </a:r>
          </a:p>
          <a:p>
            <a:endParaRPr lang="en-US" baseline="0" dirty="0"/>
          </a:p>
          <a:p>
            <a:r>
              <a:rPr lang="en-US" baseline="0" dirty="0"/>
              <a:t>References:</a:t>
            </a:r>
          </a:p>
          <a:p>
            <a:r>
              <a:rPr lang="en-US" baseline="0" dirty="0"/>
              <a:t> </a:t>
            </a:r>
            <a:r>
              <a:rPr lang="en-US" dirty="0">
                <a:hlinkClick r:id="rId3"/>
              </a:rPr>
              <a:t>https://docs.microsoft.com/en-us/sql/relational-databases/indexes/reorganize-and-rebuild-indexes?view=sql-server-ver15</a:t>
            </a:r>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1</a:t>
            </a:fld>
            <a:endParaRPr lang="en-US" noProof="0"/>
          </a:p>
        </p:txBody>
      </p:sp>
    </p:spTree>
    <p:extLst>
      <p:ext uri="{BB962C8B-B14F-4D97-AF65-F5344CB8AC3E}">
        <p14:creationId xmlns:p14="http://schemas.microsoft.com/office/powerpoint/2010/main" val="9789338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pPr marL="171450" indent="-171450">
              <a:buFont typeface="Arial" panose="020B0604020202020204" pitchFamily="34" charset="0"/>
              <a:buChar char="•"/>
            </a:pPr>
            <a:r>
              <a:rPr lang="en-US" b="1" u="sng"/>
              <a:t>Setting a default fill factor is not a great approach,</a:t>
            </a:r>
            <a:r>
              <a:rPr lang="en-US" b="1" u="sng" baseline="0"/>
              <a:t> </a:t>
            </a:r>
            <a:r>
              <a:rPr lang="en-US" u="sng" baseline="0"/>
              <a:t>because the increase in total pages needed to store an index can be costly</a:t>
            </a:r>
            <a:r>
              <a:rPr lang="en-US" u="none" baseline="0"/>
              <a:t>. </a:t>
            </a:r>
          </a:p>
          <a:p>
            <a:pPr marL="171450" indent="-171450">
              <a:buFont typeface="Arial" panose="020B0604020202020204" pitchFamily="34" charset="0"/>
              <a:buChar char="•"/>
            </a:pPr>
            <a:r>
              <a:rPr lang="en-US" u="sng" baseline="0"/>
              <a:t>When deciding to set a fill factor, think about the following</a:t>
            </a:r>
            <a:r>
              <a:rPr lang="en-US" u="sng"/>
              <a:t>:</a:t>
            </a:r>
          </a:p>
          <a:p>
            <a:pPr lvl="1"/>
            <a:r>
              <a:rPr lang="en-US"/>
              <a:t>If low fragmentation, do not use fill factor.  </a:t>
            </a:r>
          </a:p>
          <a:p>
            <a:pPr lvl="1"/>
            <a:r>
              <a:rPr lang="en-US"/>
              <a:t>If </a:t>
            </a:r>
            <a:r>
              <a:rPr lang="en-US" b="1"/>
              <a:t>high seeks and low scans, do not use fill factor</a:t>
            </a:r>
            <a:r>
              <a:rPr lang="en-US"/>
              <a:t>. Fragmentation only affects scans. </a:t>
            </a:r>
          </a:p>
          <a:p>
            <a:pPr lvl="1"/>
            <a:r>
              <a:rPr lang="en-US"/>
              <a:t>Therefore, if the index is not scanned,</a:t>
            </a:r>
            <a:r>
              <a:rPr lang="en-US" baseline="0"/>
              <a:t> fragmentation is not as important, and fill factor is likely not needed.</a:t>
            </a:r>
            <a:endParaRPr lang="en-US"/>
          </a:p>
          <a:p>
            <a:pPr lvl="1"/>
            <a:r>
              <a:rPr lang="en-US"/>
              <a:t>If </a:t>
            </a:r>
            <a:r>
              <a:rPr lang="en-US" u="sng"/>
              <a:t>high fragmentation, test and see</a:t>
            </a:r>
            <a:r>
              <a:rPr lang="en-US"/>
              <a:t>.</a:t>
            </a:r>
          </a:p>
          <a:p>
            <a:endParaRPr lang="en-US" b="1"/>
          </a:p>
          <a:p>
            <a:pPr marL="171450" indent="-171450">
              <a:buFont typeface="Arial" panose="020B0604020202020204" pitchFamily="34" charset="0"/>
              <a:buChar char="•"/>
            </a:pPr>
            <a:r>
              <a:rPr lang="en-US" b="1"/>
              <a:t>If fragmentation is causing performance issues, fill factor</a:t>
            </a:r>
            <a:r>
              <a:rPr lang="en-US" b="1" baseline="0"/>
              <a:t> is one way to address it</a:t>
            </a:r>
            <a:r>
              <a:rPr lang="en-US" baseline="0"/>
              <a:t>. </a:t>
            </a:r>
          </a:p>
          <a:p>
            <a:pPr marL="381762" lvl="1" indent="-171450">
              <a:buFont typeface="Arial" panose="020B0604020202020204" pitchFamily="34" charset="0"/>
              <a:buChar char="•"/>
            </a:pPr>
            <a:r>
              <a:rPr lang="en-US" baseline="0"/>
              <a:t>However</a:t>
            </a:r>
            <a:r>
              <a:rPr lang="en-US" b="1" baseline="0"/>
              <a:t>, fill factors leave free space on a page</a:t>
            </a:r>
            <a:r>
              <a:rPr lang="en-US" baseline="0"/>
              <a:t>, which is going to increase the total number of pages needed to store the index.</a:t>
            </a:r>
          </a:p>
          <a:p>
            <a:pPr marL="381762" lvl="1" indent="-171450">
              <a:buFont typeface="Arial" panose="020B0604020202020204" pitchFamily="34" charset="0"/>
              <a:buChar char="•"/>
            </a:pPr>
            <a:r>
              <a:rPr lang="en-US" baseline="0"/>
              <a:t> It</a:t>
            </a:r>
            <a:r>
              <a:rPr lang="en-US"/>
              <a:t> i</a:t>
            </a:r>
            <a:r>
              <a:rPr lang="en-US" baseline="0"/>
              <a:t>s a trade-off, will a scan of the less fragmented index, with more sequential reads perform better? </a:t>
            </a:r>
          </a:p>
          <a:p>
            <a:pPr marL="381762" lvl="1" indent="-171450">
              <a:buFont typeface="Arial" panose="020B0604020202020204" pitchFamily="34" charset="0"/>
              <a:buChar char="•"/>
            </a:pPr>
            <a:r>
              <a:rPr lang="en-US" baseline="0"/>
              <a:t> Or will the scan of fewer data pages perform better? </a:t>
            </a:r>
          </a:p>
          <a:p>
            <a:pPr marL="381762" lvl="1" indent="-171450">
              <a:buFont typeface="Arial" panose="020B0604020202020204" pitchFamily="34" charset="0"/>
              <a:buChar char="•"/>
            </a:pPr>
            <a:r>
              <a:rPr lang="en-US" b="1" baseline="0"/>
              <a:t> Performance </a:t>
            </a:r>
            <a:r>
              <a:rPr lang="en-US" b="1"/>
              <a:t>i</a:t>
            </a:r>
            <a:r>
              <a:rPr lang="en-US" b="1" baseline="0"/>
              <a:t>s going to vary, depending on the index</a:t>
            </a:r>
            <a:r>
              <a:rPr lang="en-US" baseline="0"/>
              <a:t>.</a:t>
            </a:r>
          </a:p>
          <a:p>
            <a:r>
              <a:rPr lang="en-US"/>
              <a:t>=============</a:t>
            </a:r>
          </a:p>
          <a:p>
            <a:r>
              <a:rPr lang="en-US" b="1"/>
              <a:t>More Information</a:t>
            </a:r>
          </a:p>
          <a:p>
            <a:r>
              <a:rPr lang="en-US"/>
              <a:t>=============</a:t>
            </a:r>
          </a:p>
          <a:p>
            <a:pPr marL="0" indent="0">
              <a:buFont typeface="Arial" panose="020B0604020202020204" pitchFamily="34" charset="0"/>
              <a:buNone/>
            </a:pPr>
            <a:endParaRPr lang="en-US" baseline="0"/>
          </a:p>
          <a:p>
            <a:pPr marL="171450" indent="-171450">
              <a:buFont typeface="Arial" panose="020B0604020202020204" pitchFamily="34" charset="0"/>
              <a:buChar char="•"/>
            </a:pPr>
            <a:r>
              <a:rPr lang="en-US" b="1"/>
              <a:t>How to tell?</a:t>
            </a:r>
          </a:p>
          <a:p>
            <a:pPr lvl="2"/>
            <a:r>
              <a:rPr lang="en-US" b="1"/>
              <a:t>Indexes on ascending values do not fragment</a:t>
            </a:r>
            <a:r>
              <a:rPr lang="en-US"/>
              <a:t>.</a:t>
            </a:r>
          </a:p>
          <a:p>
            <a:pPr lvl="2"/>
            <a:r>
              <a:rPr lang="en-US"/>
              <a:t>Use sys.dm_db_index_stats for seek vs scan usage.</a:t>
            </a:r>
          </a:p>
          <a:p>
            <a:pPr lvl="2"/>
            <a:r>
              <a:rPr lang="en-US"/>
              <a:t>Collect fragmentation history as part of index maintenance.</a:t>
            </a:r>
          </a:p>
          <a:p>
            <a:pPr marL="171450" indent="-171450">
              <a:buFont typeface="Arial" panose="020B0604020202020204" pitchFamily="34" charset="0"/>
              <a:buChar char="•"/>
            </a:pPr>
            <a:r>
              <a:rPr lang="en-US" b="1"/>
              <a:t>How to set fill factor?</a:t>
            </a:r>
          </a:p>
          <a:p>
            <a:pPr lvl="2"/>
            <a:r>
              <a:rPr lang="en-US"/>
              <a:t>Option in CREATE INDEX and ALTER INDEX…REBUILD.</a:t>
            </a:r>
          </a:p>
          <a:p>
            <a:pPr lvl="2"/>
            <a:r>
              <a:rPr lang="en-US"/>
              <a:t>Once set, future REBUILDs will respect the setting until it is manually changed.</a:t>
            </a:r>
          </a:p>
          <a:p>
            <a:pPr marL="171450" lvl="0" indent="-171450">
              <a:buFont typeface="Arial" panose="020B0604020202020204" pitchFamily="34" charset="0"/>
              <a:buChar char="•"/>
            </a:pPr>
            <a:r>
              <a:rPr lang="en-US" b="1" baseline="0"/>
              <a:t>Techniques used to reduce fill factor, </a:t>
            </a:r>
            <a:r>
              <a:rPr lang="en-US" baseline="0"/>
              <a:t>which have been discussed earlier in this lesson.  </a:t>
            </a:r>
          </a:p>
          <a:p>
            <a:pPr marL="280756" lvl="1" indent="-171450"/>
            <a:r>
              <a:rPr lang="en-US" baseline="0"/>
              <a:t>The exception is minimizing updates. This is not an indexing issue, but can definitely impact fragmentation.</a:t>
            </a:r>
          </a:p>
          <a:p>
            <a:pPr lvl="2"/>
            <a:r>
              <a:rPr lang="en-US"/>
              <a:t>Update in sets, rather than one at a time. </a:t>
            </a:r>
          </a:p>
          <a:p>
            <a:pPr lvl="2"/>
            <a:r>
              <a:rPr lang="en-US" b="1"/>
              <a:t>Do not insert with immediate update</a:t>
            </a:r>
            <a:r>
              <a:rPr lang="en-US"/>
              <a:t>. Typically, this is done to look up values in other tables.</a:t>
            </a:r>
            <a:r>
              <a:rPr lang="en-US" baseline="0"/>
              <a:t> Backfilling null values with the values looked up can increase the chance that the pages just added will not fit after the update. </a:t>
            </a:r>
            <a:endParaRPr lang="en-US"/>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2</a:t>
            </a:fld>
            <a:endParaRPr lang="en-US" noProof="0"/>
          </a:p>
        </p:txBody>
      </p:sp>
    </p:spTree>
    <p:extLst>
      <p:ext uri="{BB962C8B-B14F-4D97-AF65-F5344CB8AC3E}">
        <p14:creationId xmlns:p14="http://schemas.microsoft.com/office/powerpoint/2010/main" val="3109214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r>
              <a:rPr lang="en-US" b="1"/>
              <a:t>Choosing Indexes</a:t>
            </a:r>
          </a:p>
          <a:p>
            <a:pPr marL="171450" indent="-171450">
              <a:buFont typeface="Arial" panose="020B0604020202020204" pitchFamily="34" charset="0"/>
              <a:buChar char="•"/>
            </a:pPr>
            <a:r>
              <a:rPr lang="en-US"/>
              <a:t>Always evaluate duplicate/redundant/similar indexes before creating new index, technique called Index consolida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missing_index_details</a:t>
            </a:r>
            <a:endParaRPr lang="en-US" sz="882" b="0" i="0" kern="1200" baseline="0">
              <a:solidFill>
                <a:schemeClr val="tx1"/>
              </a:solidFill>
              <a:effectLst/>
              <a:latin typeface="+mn-lt"/>
              <a:ea typeface="+mn-ea"/>
              <a:cs typeface="+mn-cs"/>
            </a:endParaRPr>
          </a:p>
          <a:p>
            <a:pPr marL="171450" indent="-171450">
              <a:buFont typeface="Arial" panose="020B0604020202020204" pitchFamily="34" charset="0"/>
              <a:buChar char="•"/>
            </a:pPr>
            <a:r>
              <a:rPr lang="da-DK"/>
              <a:t>sys.dm_db_index_usage_stats </a:t>
            </a:r>
            <a:endParaRPr lang="en-US"/>
          </a:p>
          <a:p>
            <a:pPr marL="0" indent="0">
              <a:buFont typeface="Arial" panose="020B0604020202020204" pitchFamily="34" charset="0"/>
              <a:buNone/>
            </a:pPr>
            <a:endParaRPr lang="en-US"/>
          </a:p>
          <a:p>
            <a:pPr marL="171450" indent="-171450">
              <a:buFont typeface="Arial" panose="020B0604020202020204" pitchFamily="34" charset="0"/>
              <a:buChar char="•"/>
            </a:pPr>
            <a:r>
              <a:rPr lang="en-US"/>
              <a:t>Reducing Fragmentation</a:t>
            </a:r>
          </a:p>
          <a:p>
            <a:pPr marL="109306" lvl="1" indent="0">
              <a:buNone/>
            </a:pPr>
            <a:r>
              <a:rPr lang="en-US"/>
              <a:t>This</a:t>
            </a:r>
            <a:r>
              <a:rPr lang="en-US" baseline="0"/>
              <a:t> slide goes over some of the </a:t>
            </a:r>
            <a:r>
              <a:rPr lang="en-US" b="1" baseline="0"/>
              <a:t>techniques used to reduce fill factor, </a:t>
            </a:r>
            <a:r>
              <a:rPr lang="en-US" baseline="0"/>
              <a:t>which have been discussed earlier in this lesson.  </a:t>
            </a:r>
          </a:p>
          <a:p>
            <a:pPr marL="109306" lvl="1" indent="0">
              <a:buNone/>
            </a:pPr>
            <a:r>
              <a:rPr lang="en-US" baseline="0"/>
              <a:t>The exception is minimizing updates. </a:t>
            </a:r>
          </a:p>
          <a:p>
            <a:pPr marL="280756" lvl="1" indent="-171450"/>
            <a:r>
              <a:rPr lang="en-US" baseline="0"/>
              <a:t>This is not an indexing issue, but can definitely impact fragmentation.</a:t>
            </a:r>
          </a:p>
          <a:p>
            <a:pPr lvl="2"/>
            <a:r>
              <a:rPr lang="en-US" b="1"/>
              <a:t>Update in sets, rather than one at a time</a:t>
            </a:r>
            <a:r>
              <a:rPr lang="en-US" b="0"/>
              <a:t>.</a:t>
            </a:r>
            <a:r>
              <a:rPr lang="en-US" b="1"/>
              <a:t> </a:t>
            </a:r>
          </a:p>
          <a:p>
            <a:pPr lvl="2"/>
            <a:r>
              <a:rPr lang="en-US" b="1"/>
              <a:t>Do not insert with immediate update</a:t>
            </a:r>
            <a:r>
              <a:rPr lang="en-US"/>
              <a:t>. Typically, this is done to look up values in other tables.</a:t>
            </a:r>
            <a:r>
              <a:rPr lang="en-US" baseline="0"/>
              <a:t>  Backfilling null values with the values looked up can increase the chance that the pages just added will not fit after the update. </a:t>
            </a:r>
            <a:endParaRPr lang="en-US"/>
          </a:p>
          <a:p>
            <a:pPr marL="171450" indent="-171450">
              <a:buFont typeface="Arial" panose="020B0604020202020204" pitchFamily="34" charset="0"/>
              <a:buChar char="•"/>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3</a:t>
            </a:fld>
            <a:endParaRPr lang="en-US" noProof="0"/>
          </a:p>
        </p:txBody>
      </p:sp>
    </p:spTree>
    <p:extLst>
      <p:ext uri="{BB962C8B-B14F-4D97-AF65-F5344CB8AC3E}">
        <p14:creationId xmlns:p14="http://schemas.microsoft.com/office/powerpoint/2010/main" val="11975423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endParaRPr lang="en-US"/>
          </a:p>
          <a:p>
            <a:pPr marL="171450" indent="-171450">
              <a:buFont typeface="Arial" panose="020B0604020202020204" pitchFamily="34" charset="0"/>
              <a:buChar char="•"/>
            </a:pPr>
            <a:r>
              <a:rPr lang="en-US"/>
              <a:t>Reviewing</a:t>
            </a:r>
            <a:r>
              <a:rPr lang="en-US" baseline="0"/>
              <a:t> index usage is a great way to decide which indexes are not needed. However, you also need a way to find indexes that need to be added.  </a:t>
            </a:r>
          </a:p>
          <a:p>
            <a:pPr marL="171450" indent="-171450">
              <a:buFont typeface="Arial" panose="020B0604020202020204" pitchFamily="34" charset="0"/>
              <a:buChar char="•"/>
            </a:pPr>
            <a:endParaRPr lang="en-US" baseline="0"/>
          </a:p>
          <a:p>
            <a:pPr marL="171450" indent="-171450">
              <a:buFont typeface="Arial" panose="020B0604020202020204" pitchFamily="34" charset="0"/>
              <a:buChar char="•"/>
            </a:pPr>
            <a:r>
              <a:rPr lang="en-US" baseline="0"/>
              <a:t>To support this, Microsoft SQL Server identifies indexes that would benefit a query when the query is being compiled, and includes it in the query plan. In addition, SQL Server keeps a running tally of the total cost benefit to the query. As queries are executed more often, the total cost saving grows. Doing so lets you prioritize the indexes that need to be added.</a:t>
            </a:r>
          </a:p>
          <a:p>
            <a:pPr marL="171450" indent="-171450">
              <a:buFont typeface="Arial" panose="020B0604020202020204" pitchFamily="34" charset="0"/>
              <a:buChar char="•"/>
            </a:pPr>
            <a:endParaRPr lang="en-US" baseline="0"/>
          </a:p>
          <a:p>
            <a:pPr marL="171450" indent="-171450">
              <a:buFont typeface="Arial" panose="020B0604020202020204" pitchFamily="34" charset="0"/>
              <a:buChar char="•"/>
            </a:pPr>
            <a:r>
              <a:rPr lang="en-US"/>
              <a:t>Database Tuning Advisor makes</a:t>
            </a:r>
            <a:r>
              <a:rPr lang="en-US" baseline="0"/>
              <a:t> index recommendations as well.  </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4</a:t>
            </a:fld>
            <a:endParaRPr lang="en-US" noProof="0"/>
          </a:p>
        </p:txBody>
      </p:sp>
    </p:spTree>
    <p:extLst>
      <p:ext uri="{BB962C8B-B14F-4D97-AF65-F5344CB8AC3E}">
        <p14:creationId xmlns:p14="http://schemas.microsoft.com/office/powerpoint/2010/main" val="31129400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Notes:</a:t>
            </a:r>
          </a:p>
          <a:p>
            <a:r>
              <a:rPr lang="en-US" b="1"/>
              <a:t>Choosing Indexes</a:t>
            </a:r>
          </a:p>
          <a:p>
            <a:pPr marL="171450" indent="-171450">
              <a:buFont typeface="Arial" panose="020B0604020202020204" pitchFamily="34" charset="0"/>
              <a:buChar char="•"/>
            </a:pPr>
            <a:r>
              <a:rPr lang="en-US"/>
              <a:t>Always evaluate duplicate/redundant/similar indexes before creating new index , technique called Index consolidation.</a:t>
            </a:r>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sz="882" b="1" i="0" kern="1200" baseline="0">
                <a:solidFill>
                  <a:schemeClr val="tx1"/>
                </a:solidFill>
                <a:effectLst/>
                <a:latin typeface="+mn-lt"/>
                <a:ea typeface="+mn-ea"/>
                <a:cs typeface="+mn-cs"/>
              </a:rPr>
              <a:t>sys.dm_db_missing_index_details –&gt;covered in detail in upcoming chapter</a:t>
            </a:r>
            <a:r>
              <a:rPr lang="en-US" sz="882" b="0" i="0" kern="1200" baseline="0">
                <a:solidFill>
                  <a:schemeClr val="tx1"/>
                </a:solidFill>
                <a:effectLst/>
                <a:latin typeface="+mn-lt"/>
                <a:ea typeface="+mn-ea"/>
                <a:cs typeface="+mn-cs"/>
              </a:rPr>
              <a:t>.</a:t>
            </a:r>
          </a:p>
          <a:p>
            <a:pPr marL="171450" indent="-171450">
              <a:buFont typeface="Arial" panose="020B0604020202020204" pitchFamily="34" charset="0"/>
              <a:buChar char="•"/>
            </a:pPr>
            <a:r>
              <a:rPr lang="da-DK"/>
              <a:t>sys.dm_db_index_usage_stats    </a:t>
            </a:r>
            <a:r>
              <a:rPr lang="en-US" sz="882" b="1" i="0" kern="1200" baseline="0">
                <a:solidFill>
                  <a:schemeClr val="tx1"/>
                </a:solidFill>
                <a:effectLst/>
                <a:latin typeface="+mn-lt"/>
                <a:ea typeface="+mn-ea"/>
                <a:cs typeface="+mn-cs"/>
              </a:rPr>
              <a:t>–&gt;covered in detail in upcoming chapter along with operational stats</a:t>
            </a:r>
            <a:r>
              <a:rPr lang="en-US" sz="882" b="0" i="0" kern="1200" baseline="0">
                <a:solidFill>
                  <a:schemeClr val="tx1"/>
                </a:solidFill>
                <a:effectLst/>
                <a:latin typeface="+mn-lt"/>
                <a:ea typeface="+mn-ea"/>
                <a:cs typeface="+mn-cs"/>
              </a:rPr>
              <a:t>.</a:t>
            </a:r>
            <a:endParaRPr lang="en-US"/>
          </a:p>
          <a:p>
            <a:pPr marL="171450" indent="-171450">
              <a:buFont typeface="Arial" panose="020B0604020202020204" pitchFamily="34" charset="0"/>
              <a:buChar char="•"/>
            </a:pPr>
            <a:r>
              <a:rPr lang="en-US"/>
              <a:t>Reducing Fragmentation</a:t>
            </a:r>
          </a:p>
          <a:p>
            <a:pPr marL="109306" lvl="1" indent="0">
              <a:buNone/>
            </a:pPr>
            <a:r>
              <a:rPr lang="en-US"/>
              <a:t>This</a:t>
            </a:r>
            <a:r>
              <a:rPr lang="en-US" baseline="0"/>
              <a:t> slide goes over some of the </a:t>
            </a:r>
            <a:r>
              <a:rPr lang="en-US" b="1" baseline="0"/>
              <a:t>techniques used to reduce fill factor, </a:t>
            </a:r>
            <a:r>
              <a:rPr lang="en-US" baseline="0"/>
              <a:t>which have been discussed earlier in this lesson.  </a:t>
            </a:r>
          </a:p>
          <a:p>
            <a:pPr marL="109306" lvl="1" indent="0">
              <a:buNone/>
            </a:pPr>
            <a:r>
              <a:rPr lang="en-US" baseline="0"/>
              <a:t>The exception is minimizing updates. </a:t>
            </a:r>
          </a:p>
          <a:p>
            <a:pPr marL="280756" lvl="1" indent="-171450"/>
            <a:r>
              <a:rPr lang="en-US" baseline="0"/>
              <a:t>This is not an indexing issue, but can definitely impact fragmentation.</a:t>
            </a:r>
          </a:p>
          <a:p>
            <a:pPr lvl="2"/>
            <a:r>
              <a:rPr lang="en-US" b="1"/>
              <a:t>Update in sets, rather than one at a time</a:t>
            </a:r>
            <a:r>
              <a:rPr lang="en-US" b="0"/>
              <a:t>.</a:t>
            </a:r>
            <a:r>
              <a:rPr lang="en-US" b="1"/>
              <a:t> </a:t>
            </a:r>
          </a:p>
          <a:p>
            <a:pPr lvl="2"/>
            <a:r>
              <a:rPr lang="en-US" b="1"/>
              <a:t>Do not insert with immediate update</a:t>
            </a:r>
            <a:r>
              <a:rPr lang="en-US"/>
              <a:t>. Typically, this is done to look up values in other tables.</a:t>
            </a:r>
            <a:r>
              <a:rPr lang="en-US" baseline="0"/>
              <a:t>  Backfilling null values with the values looked up can increase the chance that the pages just added will not fit after the update. </a:t>
            </a:r>
            <a:endParaRPr lang="en-US"/>
          </a:p>
          <a:p>
            <a:pPr marL="171450" indent="-171450">
              <a:buFont typeface="Arial" panose="020B0604020202020204" pitchFamily="34" charset="0"/>
              <a:buChar char="•"/>
            </a:pPr>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45</a:t>
            </a:fld>
            <a:endParaRPr lang="en-US" noProof="0"/>
          </a:p>
        </p:txBody>
      </p:sp>
    </p:spTree>
    <p:extLst>
      <p:ext uri="{BB962C8B-B14F-4D97-AF65-F5344CB8AC3E}">
        <p14:creationId xmlns:p14="http://schemas.microsoft.com/office/powerpoint/2010/main" val="29942394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lvl="0" defTabSz="914460">
              <a:lnSpc>
                <a:spcPct val="90000"/>
              </a:lnSpc>
              <a:spcAft>
                <a:spcPts val="333"/>
              </a:spcAft>
              <a:defRPr/>
            </a:pPr>
            <a:r>
              <a:rPr lang="en-US" sz="900">
                <a:solidFill>
                  <a:srgbClr val="000000"/>
                </a:solidFill>
                <a:latin typeface="Consolas" panose="020B0609020204030204" pitchFamily="49" charset="0"/>
              </a:rPr>
              <a:t>M05L05Demo01</a:t>
            </a:r>
            <a:endParaRPr lang="en-US" sz="882" noProof="1">
              <a:solidFill>
                <a:prstClr val="black"/>
              </a:solidFill>
              <a:latin typeface="Segoe UI Light" pitchFamily="34" charset="0"/>
            </a:endParaRPr>
          </a:p>
          <a:p>
            <a:pPr lvl="0" defTabSz="914460">
              <a:lnSpc>
                <a:spcPct val="90000"/>
              </a:lnSpc>
              <a:spcAft>
                <a:spcPts val="333"/>
              </a:spcAft>
              <a:defRPr/>
            </a:pPr>
            <a:endParaRPr lang="en-US" sz="882" noProof="1">
              <a:solidFill>
                <a:prstClr val="black"/>
              </a:solidFill>
              <a:latin typeface="Segoe UI Light" pitchFamily="34" charset="0"/>
            </a:endParaRPr>
          </a:p>
          <a:p>
            <a:pPr lvl="0" defTabSz="914460">
              <a:lnSpc>
                <a:spcPct val="90000"/>
              </a:lnSpc>
              <a:spcAft>
                <a:spcPts val="333"/>
              </a:spcAft>
              <a:defRPr/>
            </a:pPr>
            <a:r>
              <a:rPr lang="en-US" sz="882" noProof="1">
                <a:solidFill>
                  <a:prstClr val="black"/>
                </a:solidFill>
                <a:latin typeface="Segoe UI Light" pitchFamily="34" charset="0"/>
              </a:rPr>
              <a:t>Consider demoing the following: </a:t>
            </a:r>
            <a:r>
              <a:rPr lang="en-US" sz="882" i="1" noProof="1">
                <a:solidFill>
                  <a:prstClr val="black"/>
                </a:solidFill>
                <a:latin typeface="Segoe UI Light" pitchFamily="34" charset="0"/>
              </a:rPr>
              <a:t>E:\Demos\</a:t>
            </a:r>
            <a:r>
              <a:rPr lang="en-US" sz="800" i="1">
                <a:solidFill>
                  <a:srgbClr val="000000"/>
                </a:solidFill>
                <a:latin typeface="Consolas" panose="020B0609020204030204" pitchFamily="49" charset="0"/>
              </a:rPr>
              <a:t>M05L05Demo01</a:t>
            </a:r>
            <a:r>
              <a:rPr lang="en-US" sz="882" i="1" noProof="1">
                <a:solidFill>
                  <a:prstClr val="black"/>
                </a:solidFill>
                <a:latin typeface="Segoe UI Light" pitchFamily="34" charset="0"/>
              </a:rPr>
              <a:t>\</a:t>
            </a:r>
            <a:r>
              <a:rPr lang="en-US" i="1"/>
              <a:t>IndexUsage.sql</a:t>
            </a:r>
          </a:p>
          <a:p>
            <a:pPr lvl="0" defTabSz="914460">
              <a:lnSpc>
                <a:spcPct val="90000"/>
              </a:lnSpc>
              <a:spcAft>
                <a:spcPts val="333"/>
              </a:spcAft>
            </a:pPr>
            <a:endParaRPr lang="en-US" sz="882">
              <a:solidFill>
                <a:prstClr val="black"/>
              </a:solidFill>
              <a:latin typeface="Segoe UI Light" pitchFamily="34" charset="0"/>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8328846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a:t>
            </a:fld>
            <a:endParaRPr lang="en-US" noProof="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8/11/2022</a:t>
            </a:fld>
            <a:endParaRPr lang="en-US"/>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22676444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48</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8/11/2022</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dirty="0"/>
          </a:p>
        </p:txBody>
      </p:sp>
    </p:spTree>
    <p:extLst>
      <p:ext uri="{BB962C8B-B14F-4D97-AF65-F5344CB8AC3E}">
        <p14:creationId xmlns:p14="http://schemas.microsoft.com/office/powerpoint/2010/main" val="9429601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nsity Vector:</a:t>
            </a:r>
          </a:p>
          <a:p>
            <a:pPr marL="171450" lvl="0" indent="-171450">
              <a:buFont typeface="Arial" panose="020B0604020202020204" pitchFamily="34" charset="0"/>
              <a:buChar char="•"/>
            </a:pPr>
            <a:r>
              <a:rPr lang="en-US" dirty="0"/>
              <a:t>It is calculated as 1/(number of distinct values). </a:t>
            </a:r>
          </a:p>
          <a:p>
            <a:pPr marL="171450" lvl="0" indent="-171450">
              <a:buFont typeface="Arial" panose="020B0604020202020204" pitchFamily="34" charset="0"/>
              <a:buChar char="•"/>
            </a:pPr>
            <a:r>
              <a:rPr lang="en-US" dirty="0"/>
              <a:t>The query optimizer uses densities to enhance cardinality estimates for queries that return multiple columns from the same table or indexed view. As density decreases, selectivity of a value increases. </a:t>
            </a:r>
          </a:p>
          <a:p>
            <a:endParaRPr lang="en-US" dirty="0"/>
          </a:p>
          <a:p>
            <a:r>
              <a:rPr lang="en-US" b="1" dirty="0"/>
              <a:t>Histogram:</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Histograms in SQL Server are only built for a single column-the first column in the set of key columns of the statistics object.</a:t>
            </a:r>
          </a:p>
          <a:p>
            <a:endParaRPr lang="en-US" dirty="0"/>
          </a:p>
          <a:p>
            <a:r>
              <a:rPr lang="en-US" i="1"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0</a:t>
            </a:fld>
            <a:endParaRPr lang="en-US" noProof="0" dirty="0"/>
          </a:p>
        </p:txBody>
      </p:sp>
    </p:spTree>
    <p:extLst>
      <p:ext uri="{BB962C8B-B14F-4D97-AF65-F5344CB8AC3E}">
        <p14:creationId xmlns:p14="http://schemas.microsoft.com/office/powerpoint/2010/main" val="11993878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docs.microsoft.com/en-us/sql/t-sql/database-console-commands/dbcc-show-statistics-transact-sql</a:t>
            </a:r>
            <a:endParaRPr lang="en-US" dirty="0"/>
          </a:p>
          <a:p>
            <a:pPr marL="171450" indent="-171450">
              <a:buFont typeface="Arial" panose="020B0604020202020204" pitchFamily="34" charset="0"/>
              <a:buChar char="•"/>
            </a:pPr>
            <a:r>
              <a:rPr lang="en-US"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dirty="0"/>
          </a:p>
        </p:txBody>
      </p:sp>
    </p:spTree>
    <p:extLst>
      <p:ext uri="{BB962C8B-B14F-4D97-AF65-F5344CB8AC3E}">
        <p14:creationId xmlns:p14="http://schemas.microsoft.com/office/powerpoint/2010/main" val="9287397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UTO_CREATE_STATISTICS { ON | OFF </a:t>
            </a:r>
            <a:r>
              <a:rPr lang="en-US" dirty="0"/>
              <a:t>} </a:t>
            </a:r>
          </a:p>
          <a:p>
            <a:r>
              <a:rPr lang="en-US" dirty="0"/>
              <a:t>ON Query Optimizer creates statistics on single columns in query predicates, as necessary, to improve query plans and query performance. These single-column statistics are created when Query Optimizer compiles queries. The single-column statistics are created only on columns that aren't already the first column of an existing statistics object.</a:t>
            </a:r>
          </a:p>
          <a:p>
            <a:endParaRPr lang="en-US" dirty="0"/>
          </a:p>
          <a:p>
            <a:r>
              <a:rPr lang="en-US" dirty="0"/>
              <a:t>The default setting is ON. We recommend that you use the default setting for most databases.</a:t>
            </a:r>
          </a:p>
          <a:p>
            <a:endParaRPr lang="en-US" dirty="0"/>
          </a:p>
          <a:p>
            <a:r>
              <a:rPr lang="en-US" dirty="0"/>
              <a:t>OFF Query Optimizer doesn't create statistics on single columns in query predicates when it's compiling queries. Setting this option to OFF can cause suboptimal query plans and degraded query performance.</a:t>
            </a:r>
          </a:p>
          <a:p>
            <a:endParaRPr lang="en-US" dirty="0"/>
          </a:p>
          <a:p>
            <a:r>
              <a:rPr lang="en-US" dirty="0"/>
              <a:t>You can determine this option's status by examining the is_auto_create_stats_on column in the sys.databases catalog view. You can also determine the status by examining the IsAutoCreateStatistics property of the DATABASEPROPERTYEX function.</a:t>
            </a:r>
          </a:p>
          <a:p>
            <a:endParaRPr lang="en-US" dirty="0"/>
          </a:p>
          <a:p>
            <a:r>
              <a:rPr lang="en-US" dirty="0"/>
              <a:t>For more information, see the section "Using the Database-wide statistics options" in Statistics.</a:t>
            </a:r>
          </a:p>
          <a:p>
            <a:endParaRPr lang="en-US" dirty="0"/>
          </a:p>
          <a:p>
            <a:r>
              <a:rPr lang="en-US" b="1" dirty="0"/>
              <a:t>INCREMENTAL = ON | OFF</a:t>
            </a:r>
          </a:p>
          <a:p>
            <a:endParaRPr lang="en-US" dirty="0"/>
          </a:p>
          <a:p>
            <a:r>
              <a:rPr lang="en-US" dirty="0"/>
              <a:t>Set AUTO_CREATE_STATISTICS to ON, and set INCREMENTAL to ON. This sets automatically created stats as incremental whenever incremental stats are supported. The default value is OFF. For more information, see CREATE STATISTICS.</a:t>
            </a:r>
          </a:p>
          <a:p>
            <a:endParaRPr lang="en-US" dirty="0"/>
          </a:p>
          <a:p>
            <a:endParaRPr lang="en-US" dirty="0"/>
          </a:p>
          <a:p>
            <a:r>
              <a:rPr lang="en-US" sz="882" b="1" i="0" kern="1200" baseline="0" dirty="0">
                <a:solidFill>
                  <a:schemeClr val="tx1"/>
                </a:solidFill>
                <a:effectLst/>
                <a:latin typeface="+mn-lt"/>
                <a:ea typeface="+mn-ea"/>
                <a:cs typeface="+mn-cs"/>
              </a:rPr>
              <a:t>AUTO_UPDATE_STATISTICS { ON | OFF } </a:t>
            </a:r>
          </a:p>
          <a:p>
            <a:r>
              <a:rPr lang="en-US" sz="882" b="0" i="0" kern="1200" baseline="0" dirty="0">
                <a:solidFill>
                  <a:schemeClr val="tx1"/>
                </a:solidFill>
                <a:effectLst/>
                <a:latin typeface="+mn-lt"/>
                <a:ea typeface="+mn-ea"/>
                <a:cs typeface="+mn-cs"/>
              </a:rPr>
              <a:t>ON Specifies that Query Optimizer updates statistics when they're used by a query and when they might be out-of-date. Statistics become out-of-date after insert, update, delete, or merge operations change the data distribution in the table or indexed view. Query Optimizer determines when statistics might be out-of-date by counting the number of data modifications since the last statistics update and comparing the number of modifications to a threshold. The threshold is based on the number of rows in the table or indexed view.</a:t>
            </a:r>
          </a:p>
          <a:p>
            <a:r>
              <a:rPr lang="en-US" sz="882" b="0" i="0" kern="1200" baseline="0" dirty="0">
                <a:solidFill>
                  <a:schemeClr val="tx1"/>
                </a:solidFill>
                <a:effectLst/>
                <a:latin typeface="+mn-lt"/>
                <a:ea typeface="+mn-ea"/>
                <a:cs typeface="+mn-cs"/>
              </a:rPr>
              <a:t>Query Optimizer checks for out-of-date statistics before it compiles a query and runs a cached query plan. Query Optimizer uses the columns, tables, and indexed views in the query predicate to determine which statistics might be out-of-date. Query Optimizer determines this information before it compiles a query. Before running a cached query plan, the Database Engine verifies that the query plan references up-to-date statistics.</a:t>
            </a:r>
          </a:p>
          <a:p>
            <a:r>
              <a:rPr lang="en-US" sz="882" b="0" i="0" kern="1200" baseline="0" dirty="0">
                <a:solidFill>
                  <a:schemeClr val="tx1"/>
                </a:solidFill>
                <a:effectLst/>
                <a:latin typeface="+mn-lt"/>
                <a:ea typeface="+mn-ea"/>
                <a:cs typeface="+mn-cs"/>
              </a:rPr>
              <a:t>The AUTO_UPDATE_STATISTICS option applies to statistics created for indexes, single-columns in query predicates, and statistics that are created by using the CREATE STATISTICS statement. This option also applies to filtered statistics.</a:t>
            </a:r>
          </a:p>
          <a:p>
            <a:r>
              <a:rPr lang="en-US" sz="882" b="0" i="0" kern="1200" baseline="0" dirty="0">
                <a:solidFill>
                  <a:schemeClr val="tx1"/>
                </a:solidFill>
                <a:effectLst/>
                <a:latin typeface="+mn-lt"/>
                <a:ea typeface="+mn-ea"/>
                <a:cs typeface="+mn-cs"/>
              </a:rPr>
              <a:t>The default is ON. We recommend that you use the default setting for most databases.</a:t>
            </a:r>
          </a:p>
          <a:p>
            <a:endParaRPr lang="en-US" dirty="0"/>
          </a:p>
          <a:p>
            <a:r>
              <a:rPr lang="en-US" b="1" dirty="0"/>
              <a:t>AUTO_UPDATE_STATISTICS_ASYNC </a:t>
            </a:r>
            <a:endParaRPr lang="en-US" dirty="0"/>
          </a:p>
          <a:p>
            <a:r>
              <a:rPr lang="en-US" dirty="0"/>
              <a:t>Use the AUTO_UPDATE_STATISTICS_ASYNC option to specify whether the statistics are updated synchronously or asynchronously.</a:t>
            </a:r>
          </a:p>
          <a:p>
            <a:endParaRPr lang="en-US" dirty="0"/>
          </a:p>
          <a:p>
            <a:r>
              <a:rPr lang="en-US" dirty="0"/>
              <a:t>OFF Specifies that Query Optimizer doesn't update statistics when they're used by a query. Query Optimizer also doesn't update statistics when they might be out-of-date. Setting this option to OFF can cause suboptimal query plans and degraded query performance.</a:t>
            </a:r>
          </a:p>
          <a:p>
            <a:endParaRPr lang="en-US" dirty="0"/>
          </a:p>
          <a:p>
            <a:r>
              <a:rPr lang="en-US" dirty="0"/>
              <a:t>You can determine this option's status by examining the is_auto_update_stats_on column in the sys.databases catalog view. You can also determine the status by examining the IsAutoUpdateStatistics property of the DATABASEPROPERTYEX function.</a:t>
            </a:r>
          </a:p>
          <a:p>
            <a:endParaRPr lang="en-US" dirty="0"/>
          </a:p>
          <a:p>
            <a:r>
              <a:rPr lang="en-US" b="0" dirty="0"/>
              <a:t>For further information refer to:</a:t>
            </a:r>
          </a:p>
          <a:p>
            <a:pPr marL="171450" indent="-171450">
              <a:buFont typeface="Arial" panose="020B0604020202020204" pitchFamily="34" charset="0"/>
              <a:buChar char="•"/>
            </a:pPr>
            <a:r>
              <a:rPr lang="en-US" dirty="0">
                <a:hlinkClick r:id="rId3"/>
              </a:rPr>
              <a:t>https://docs.microsoft.com/en-us/sql/t-sql/statements/alter-database-transact-sql-set-options</a:t>
            </a:r>
            <a:endParaRPr lang="en-US" dirty="0"/>
          </a:p>
          <a:p>
            <a:pPr marL="171450" marR="0" lvl="0"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dirty="0">
                <a:hlinkClick r:id="rId4"/>
              </a:rPr>
              <a:t>https://docs.microsoft.com/en-us/sharepoint/administration/best-practices-for-sql-server-in-a-sharepoint-server-farm</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dirty="0"/>
          </a:p>
        </p:txBody>
      </p:sp>
    </p:spTree>
    <p:extLst>
      <p:ext uri="{BB962C8B-B14F-4D97-AF65-F5344CB8AC3E}">
        <p14:creationId xmlns:p14="http://schemas.microsoft.com/office/powerpoint/2010/main" val="33832619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dirty="0">
                <a:hlinkClick r:id="rId3"/>
              </a:rPr>
              <a:t>https://docs.microsoft.com/en-us/sql/t-sql/statements/create-statistics-transact-sql</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dirty="0"/>
          </a:p>
        </p:txBody>
      </p:sp>
    </p:spTree>
    <p:extLst>
      <p:ext uri="{BB962C8B-B14F-4D97-AF65-F5344CB8AC3E}">
        <p14:creationId xmlns:p14="http://schemas.microsoft.com/office/powerpoint/2010/main" val="36974071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further information refer to:</a:t>
            </a:r>
          </a:p>
          <a:p>
            <a:pPr marL="171450" indent="-171450">
              <a:buFont typeface="Arial" panose="020B0604020202020204" pitchFamily="34" charset="0"/>
              <a:buChar char="•"/>
            </a:pPr>
            <a:r>
              <a:rPr lang="en-US" i="1" dirty="0"/>
              <a:t>https://docs.microsoft.com/en-us/sql/relational-databases/statistics/statistics</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6</a:t>
            </a:fld>
            <a:endParaRPr lang="en-US" noProof="0" dirty="0"/>
          </a:p>
        </p:txBody>
      </p:sp>
    </p:spTree>
    <p:extLst>
      <p:ext uri="{BB962C8B-B14F-4D97-AF65-F5344CB8AC3E}">
        <p14:creationId xmlns:p14="http://schemas.microsoft.com/office/powerpoint/2010/main" val="41587135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57</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smtClean="0"/>
              <a:t>8/11/2022</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pPr marL="171450" lvl="0" indent="-171450" defTabSz="914460">
              <a:lnSpc>
                <a:spcPct val="90000"/>
              </a:lnSpc>
              <a:spcAft>
                <a:spcPts val="333"/>
              </a:spcAft>
              <a:buFontTx/>
              <a:buChar char="-"/>
            </a:pPr>
            <a:r>
              <a:rPr lang="en-US" sz="1800" dirty="0">
                <a:solidFill>
                  <a:srgbClr val="000000"/>
                </a:solidFill>
                <a:latin typeface="Consolas" panose="020B0609020204030204" pitchFamily="49" charset="0"/>
              </a:rPr>
              <a:t>M06L01Demo01</a:t>
            </a: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endParaRPr lang="en-US" sz="882" noProof="0" dirty="0">
              <a:solidFill>
                <a:prstClr val="black"/>
              </a:solidFill>
              <a:latin typeface="Segoe UI Light" pitchFamily="34" charset="0"/>
            </a:endParaRP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o the Lab VM</a:t>
            </a:r>
          </a:p>
          <a:p>
            <a:pPr marL="171450" lvl="0" indent="-171450" defTabSz="914460">
              <a:lnSpc>
                <a:spcPct val="90000"/>
              </a:lnSpc>
              <a:spcAft>
                <a:spcPts val="333"/>
              </a:spcAft>
              <a:buFontTx/>
              <a:buChar char="-"/>
            </a:pPr>
            <a:r>
              <a:rPr lang="en-US" sz="882" noProof="0" dirty="0">
                <a:solidFill>
                  <a:prstClr val="black"/>
                </a:solidFill>
                <a:latin typeface="Segoe UI Light" pitchFamily="34" charset="0"/>
              </a:rPr>
              <a:t>Go through </a:t>
            </a:r>
            <a:r>
              <a:rPr lang="en-US" sz="882" i="1" noProof="0" dirty="0">
                <a:solidFill>
                  <a:prstClr val="black"/>
                </a:solidFill>
                <a:latin typeface="Segoe UI Light" pitchFamily="34" charset="0"/>
              </a:rPr>
              <a:t>e:\Demos\</a:t>
            </a:r>
            <a:r>
              <a:rPr lang="en-US" sz="900" i="1" dirty="0">
                <a:solidFill>
                  <a:srgbClr val="000000"/>
                </a:solidFill>
                <a:latin typeface="Consolas" panose="020B0609020204030204" pitchFamily="49" charset="0"/>
              </a:rPr>
              <a:t>M06L01Demo01</a:t>
            </a:r>
            <a:r>
              <a:rPr lang="en-US" sz="882" i="1" noProof="0" dirty="0">
                <a:solidFill>
                  <a:prstClr val="black"/>
                </a:solidFill>
                <a:latin typeface="Segoe UI Light" pitchFamily="34" charset="0"/>
              </a:rPr>
              <a:t>\StatisticsBasics.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8081503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5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8/11/2022</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481490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In relational databases, a condition (or predicate) in a query is said to be </a:t>
            </a:r>
            <a:r>
              <a:rPr lang="en-US" sz="882" b="0" i="0" kern="1200" baseline="0" dirty="0" err="1">
                <a:solidFill>
                  <a:schemeClr val="tx1"/>
                </a:solidFill>
                <a:effectLst/>
                <a:latin typeface="+mn-lt"/>
                <a:ea typeface="+mn-ea"/>
                <a:cs typeface="+mn-cs"/>
              </a:rPr>
              <a:t>sargable</a:t>
            </a:r>
            <a:r>
              <a:rPr lang="en-US" sz="882" b="0" i="0" kern="1200" baseline="0" dirty="0">
                <a:solidFill>
                  <a:schemeClr val="tx1"/>
                </a:solidFill>
                <a:effectLst/>
                <a:latin typeface="+mn-lt"/>
                <a:ea typeface="+mn-ea"/>
                <a:cs typeface="+mn-cs"/>
              </a:rPr>
              <a:t> if the DBMS engine can take advantage of an index to speed up the execution of the query. The term is derived from a contraction of Search </a:t>
            </a:r>
            <a:r>
              <a:rPr lang="en-US" sz="882" b="0" i="0" kern="1200" baseline="0" dirty="0" err="1">
                <a:solidFill>
                  <a:schemeClr val="tx1"/>
                </a:solidFill>
                <a:effectLst/>
                <a:latin typeface="+mn-lt"/>
                <a:ea typeface="+mn-ea"/>
                <a:cs typeface="+mn-cs"/>
              </a:rPr>
              <a:t>ARGument</a:t>
            </a:r>
            <a:r>
              <a:rPr lang="en-US" sz="882" b="0" i="0" kern="1200" baseline="0" dirty="0">
                <a:solidFill>
                  <a:schemeClr val="tx1"/>
                </a:solidFill>
                <a:effectLst/>
                <a:latin typeface="+mn-lt"/>
                <a:ea typeface="+mn-ea"/>
                <a:cs typeface="+mn-cs"/>
              </a:rPr>
              <a:t> ABL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 further information refer to:</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en.wikipedia.org/wiki/Sargable</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892893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In relational databases, a condition (or predicate) in a query is said to be </a:t>
            </a:r>
            <a:r>
              <a:rPr lang="en-US" sz="882" b="0" i="0" kern="1200" baseline="0" dirty="0" err="1">
                <a:solidFill>
                  <a:schemeClr val="tx1"/>
                </a:solidFill>
                <a:effectLst/>
                <a:latin typeface="+mn-lt"/>
                <a:ea typeface="+mn-ea"/>
                <a:cs typeface="+mn-cs"/>
              </a:rPr>
              <a:t>sargable</a:t>
            </a:r>
            <a:r>
              <a:rPr lang="en-US" sz="882" b="0" i="0" kern="1200" baseline="0" dirty="0">
                <a:solidFill>
                  <a:schemeClr val="tx1"/>
                </a:solidFill>
                <a:effectLst/>
                <a:latin typeface="+mn-lt"/>
                <a:ea typeface="+mn-ea"/>
                <a:cs typeface="+mn-cs"/>
              </a:rPr>
              <a:t> if the DBMS engine can take advantage of an index to speed up the execution of the query. The term is derived from a contraction of Search </a:t>
            </a:r>
            <a:r>
              <a:rPr lang="en-US" sz="882" b="0" i="0" kern="1200" baseline="0" dirty="0" err="1">
                <a:solidFill>
                  <a:schemeClr val="tx1"/>
                </a:solidFill>
                <a:effectLst/>
                <a:latin typeface="+mn-lt"/>
                <a:ea typeface="+mn-ea"/>
                <a:cs typeface="+mn-cs"/>
              </a:rPr>
              <a:t>ARGument</a:t>
            </a:r>
            <a:r>
              <a:rPr lang="en-US" sz="882" b="0" i="0" kern="1200" baseline="0" dirty="0">
                <a:solidFill>
                  <a:schemeClr val="tx1"/>
                </a:solidFill>
                <a:effectLst/>
                <a:latin typeface="+mn-lt"/>
                <a:ea typeface="+mn-ea"/>
                <a:cs typeface="+mn-cs"/>
              </a:rPr>
              <a:t> ABLE.</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chemeClr val="tx1"/>
                </a:solidFill>
                <a:effectLst/>
                <a:latin typeface="+mn-lt"/>
                <a:ea typeface="+mn-ea"/>
                <a:cs typeface="+mn-cs"/>
              </a:rPr>
              <a:t>For further information refer to:</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hlinkClick r:id="rId3"/>
              </a:rPr>
              <a:t>https://en.wikipedia.org/wiki/Sargable</a:t>
            </a: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996154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4775" y="73025"/>
            <a:ext cx="3289300" cy="1851025"/>
          </a:xfrm>
        </p:spPr>
      </p:sp>
      <p:sp>
        <p:nvSpPr>
          <p:cNvPr id="3" name="Notes Placeholder 2"/>
          <p:cNvSpPr>
            <a:spLocks noGrp="1"/>
          </p:cNvSpPr>
          <p:nvPr>
            <p:ph type="body" idx="1"/>
          </p:nvPr>
        </p:nvSpPr>
        <p:spPr>
          <a:xfrm>
            <a:off x="310896" y="2093976"/>
            <a:ext cx="6153912" cy="6604000"/>
          </a:xfrm>
        </p:spPr>
        <p:txBody>
          <a:bodyPr>
            <a:noAutofit/>
          </a:bodyPr>
          <a:lstStyle/>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Provide an overview of how the data is stored on SQL Server. Describe each of the three data file types and the basic internal layout of the data files. Stress that the file extension .mdf is not mandatory to use but is highly recommended. </a:t>
            </a:r>
          </a:p>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Describe the difference between uniform and mixed extents. Note that continued support for mixed extents adds complexity to the database engine for no real benefit. The size of an extent (64 KB) is so small that the original benefit from the mixed extent design is now irrelevant.</a:t>
            </a:r>
          </a:p>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Briefly explain that all transactions are written to the log file using the WAL mechanism to ensure the integrity of the database in case of a failure and to support rollbacks of transactions. Explain that data changes occur in the buffer pool and are not written immediately to the data files.</a:t>
            </a:r>
          </a:p>
          <a:p>
            <a:pPr>
              <a:lnSpc>
                <a:spcPct val="107000"/>
              </a:lnSpc>
              <a:spcAft>
                <a:spcPts val="800"/>
              </a:spcAft>
            </a:pPr>
            <a:r>
              <a:rPr lang="en-GB" sz="1000" dirty="0">
                <a:effectLst/>
                <a:latin typeface="Arial" panose="020B0604020202020204" pitchFamily="34" charset="0"/>
                <a:ea typeface="Calibri" panose="020F0502020204030204" pitchFamily="34" charset="0"/>
                <a:cs typeface="Times New Roman" panose="02020603050405020304" pitchFamily="18" charset="0"/>
              </a:rPr>
              <a:t>Avoid discussing filegroups at this point, as they will be covered lat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712F5C-2151-4C93-B203-62D969BA5CD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0" y="0"/>
            <a:ext cx="3038475" cy="22225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462C</a:t>
            </a:r>
          </a:p>
        </p:txBody>
      </p:sp>
      <p:sp>
        <p:nvSpPr>
          <p:cNvPr id="6" name="Rectangle 5"/>
          <p:cNvSpPr/>
          <p:nvPr/>
        </p:nvSpPr>
        <p:spPr>
          <a:xfrm>
            <a:off x="0" y="238125"/>
            <a:ext cx="3038475" cy="3476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36699"/>
                </a:solidFill>
                <a:effectLst/>
                <a:uLnTx/>
                <a:uFillTx/>
                <a:latin typeface="Arial" panose="020B0604020202020204" pitchFamily="34" charset="0"/>
                <a:ea typeface="+mn-ea"/>
                <a:cs typeface="+mn-cs"/>
              </a:rPr>
              <a:t>3: Working with Databases and Storage</a:t>
            </a:r>
          </a:p>
        </p:txBody>
      </p:sp>
    </p:spTree>
    <p:extLst>
      <p:ext uri="{BB962C8B-B14F-4D97-AF65-F5344CB8AC3E}">
        <p14:creationId xmlns:p14="http://schemas.microsoft.com/office/powerpoint/2010/main" val="1170047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 </a:t>
            </a:r>
            <a:r>
              <a:rPr lang="en-US" dirty="0"/>
              <a:t>:</a:t>
            </a:r>
          </a:p>
          <a:p>
            <a:pPr marL="100584" lvl="1" indent="0">
              <a:buNone/>
            </a:pPr>
            <a:r>
              <a:rPr lang="en-US" dirty="0"/>
              <a:t>Heaps are typically a poor</a:t>
            </a:r>
            <a:r>
              <a:rPr lang="en-US" baseline="0" dirty="0"/>
              <a:t> choice for production structures because:</a:t>
            </a:r>
          </a:p>
          <a:p>
            <a:pPr marL="381762" lvl="1" indent="-171450">
              <a:buFont typeface="Arial" panose="020B0604020202020204" pitchFamily="34" charset="0"/>
              <a:buChar char="•"/>
            </a:pPr>
            <a:r>
              <a:rPr lang="en-US" dirty="0"/>
              <a:t>Forwarding pointers.</a:t>
            </a:r>
          </a:p>
          <a:p>
            <a:pPr marL="381762" lvl="1" indent="-171450">
              <a:buFont typeface="Arial" panose="020B0604020202020204" pitchFamily="34" charset="0"/>
              <a:buChar char="•"/>
            </a:pPr>
            <a:r>
              <a:rPr lang="en-US" dirty="0"/>
              <a:t>8-byte Row-ID</a:t>
            </a:r>
            <a:r>
              <a:rPr lang="en-US" baseline="0" dirty="0"/>
              <a:t> assigned on insert. RID </a:t>
            </a:r>
            <a:r>
              <a:rPr lang="en-US" sz="882" b="0" i="0" kern="1200" baseline="0" dirty="0">
                <a:solidFill>
                  <a:schemeClr val="tx1"/>
                </a:solidFill>
                <a:effectLst/>
                <a:latin typeface="+mn-lt"/>
                <a:ea typeface="+mn-ea"/>
                <a:cs typeface="+mn-cs"/>
              </a:rPr>
              <a:t>consisting of the file number, data page number, and slot on the page. </a:t>
            </a:r>
            <a:endParaRPr lang="en-US" baseline="0" dirty="0"/>
          </a:p>
          <a:p>
            <a:pPr marL="381762" lvl="1" indent="-171450">
              <a:buFont typeface="Arial" panose="020B0604020202020204" pitchFamily="34" charset="0"/>
              <a:buChar char="•"/>
            </a:pPr>
            <a:r>
              <a:rPr lang="en-US" baseline="0" dirty="0"/>
              <a:t>Not great at all for table scans.</a:t>
            </a:r>
          </a:p>
          <a:p>
            <a:pPr marL="381762" lvl="1" indent="-171450">
              <a:buFont typeface="Arial" panose="020B0604020202020204" pitchFamily="34" charset="0"/>
              <a:buChar char="•"/>
            </a:pPr>
            <a:r>
              <a:rPr lang="en-US" baseline="0" dirty="0"/>
              <a:t>Sometimes expensive to find a spot where a row can be inserted.</a:t>
            </a:r>
          </a:p>
          <a:p>
            <a:pPr marL="381762" lvl="1" indent="-171450">
              <a:buFont typeface="Arial" panose="020B0604020202020204" pitchFamily="34" charset="0"/>
              <a:buChar char="•"/>
            </a:pPr>
            <a:r>
              <a:rPr lang="en-US" b="1" dirty="0"/>
              <a:t>Data pages are not linked</a:t>
            </a:r>
            <a:r>
              <a:rPr lang="en-US" dirty="0"/>
              <a:t>, </a:t>
            </a:r>
            <a:r>
              <a:rPr lang="en-US" u="sng" dirty="0"/>
              <a:t>so sequential access needs to refer to the index allocation map (IAM) pages</a:t>
            </a:r>
            <a:r>
              <a:rPr lang="en-US" u="none" dirty="0"/>
              <a:t>.</a:t>
            </a:r>
          </a:p>
          <a:p>
            <a:r>
              <a:rPr lang="en-US" dirty="0"/>
              <a:t>=============</a:t>
            </a:r>
          </a:p>
          <a:p>
            <a:r>
              <a:rPr lang="en-US" b="1" dirty="0"/>
              <a:t>More Information</a:t>
            </a:r>
          </a:p>
          <a:p>
            <a:r>
              <a:rPr lang="en-US" dirty="0"/>
              <a:t>=============</a:t>
            </a:r>
          </a:p>
          <a:p>
            <a:r>
              <a:rPr lang="en-US" sz="882" b="0" i="0" kern="1200" baseline="0" dirty="0">
                <a:solidFill>
                  <a:schemeClr val="tx1"/>
                </a:solidFill>
                <a:effectLst/>
                <a:latin typeface="+mn-lt"/>
                <a:ea typeface="+mn-ea"/>
                <a:cs typeface="+mn-cs"/>
              </a:rPr>
              <a:t>A heap is a table without a clustered index. </a:t>
            </a:r>
            <a:r>
              <a:rPr lang="en-US" sz="882" b="1" i="0" kern="1200" baseline="0" dirty="0">
                <a:solidFill>
                  <a:schemeClr val="tx1"/>
                </a:solidFill>
                <a:effectLst/>
                <a:latin typeface="+mn-lt"/>
                <a:ea typeface="+mn-ea"/>
                <a:cs typeface="+mn-cs"/>
              </a:rPr>
              <a:t>One or more nonclustered indexes can be created on tables stored as a heap</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Data is stored in the heap without specifying an order</a:t>
            </a:r>
            <a:r>
              <a:rPr lang="en-US" sz="882" b="0" i="0" kern="1200" baseline="0" dirty="0">
                <a:solidFill>
                  <a:schemeClr val="tx1"/>
                </a:solidFill>
                <a:effectLst/>
                <a:latin typeface="+mn-lt"/>
                <a:ea typeface="+mn-ea"/>
                <a:cs typeface="+mn-cs"/>
              </a:rPr>
              <a:t>. Usually data is </a:t>
            </a:r>
            <a:r>
              <a:rPr lang="en-US" sz="882" b="0" i="0" u="sng" kern="1200" baseline="0" dirty="0">
                <a:solidFill>
                  <a:schemeClr val="tx1"/>
                </a:solidFill>
                <a:effectLst/>
                <a:latin typeface="+mn-lt"/>
                <a:ea typeface="+mn-ea"/>
                <a:cs typeface="+mn-cs"/>
              </a:rPr>
              <a:t>initially stored in the order in which the rows are inserted into the table</a:t>
            </a:r>
            <a:r>
              <a:rPr lang="en-US" sz="882" b="0" i="0" kern="1200" baseline="0" dirty="0">
                <a:solidFill>
                  <a:schemeClr val="tx1"/>
                </a:solidFill>
                <a:effectLst/>
                <a:latin typeface="+mn-lt"/>
                <a:ea typeface="+mn-ea"/>
                <a:cs typeface="+mn-cs"/>
              </a:rPr>
              <a:t>, </a:t>
            </a:r>
            <a:r>
              <a:rPr lang="en-US" sz="882" b="1" i="0" kern="1200" baseline="0" dirty="0">
                <a:solidFill>
                  <a:schemeClr val="tx1"/>
                </a:solidFill>
                <a:effectLst/>
                <a:latin typeface="+mn-lt"/>
                <a:ea typeface="+mn-ea"/>
                <a:cs typeface="+mn-cs"/>
              </a:rPr>
              <a:t>but</a:t>
            </a:r>
            <a:r>
              <a:rPr lang="en-US" sz="882" b="0" i="0" kern="1200" baseline="0" dirty="0">
                <a:solidFill>
                  <a:schemeClr val="tx1"/>
                </a:solidFill>
                <a:effectLst/>
                <a:latin typeface="+mn-lt"/>
                <a:ea typeface="+mn-ea"/>
                <a:cs typeface="+mn-cs"/>
              </a:rPr>
              <a:t> the Database Engine </a:t>
            </a:r>
            <a:r>
              <a:rPr lang="en-US" sz="882" b="0" i="0" u="sng" kern="1200" baseline="0" dirty="0">
                <a:solidFill>
                  <a:schemeClr val="tx1"/>
                </a:solidFill>
                <a:effectLst/>
                <a:latin typeface="+mn-lt"/>
                <a:ea typeface="+mn-ea"/>
                <a:cs typeface="+mn-cs"/>
              </a:rPr>
              <a:t>can move data around in the heap to store the rows efficiently</a:t>
            </a:r>
            <a:r>
              <a:rPr lang="en-US" sz="882" b="0" i="0" kern="1200" baseline="0" dirty="0">
                <a:solidFill>
                  <a:schemeClr val="tx1"/>
                </a:solidFill>
                <a:effectLst/>
                <a:latin typeface="+mn-lt"/>
                <a:ea typeface="+mn-ea"/>
                <a:cs typeface="+mn-cs"/>
              </a:rPr>
              <a:t>; so the data </a:t>
            </a:r>
            <a:r>
              <a:rPr lang="en-US" sz="882" b="0" i="0" u="sng" kern="1200" baseline="0" dirty="0">
                <a:solidFill>
                  <a:schemeClr val="tx1"/>
                </a:solidFill>
                <a:effectLst/>
                <a:latin typeface="+mn-lt"/>
                <a:ea typeface="+mn-ea"/>
                <a:cs typeface="+mn-cs"/>
              </a:rPr>
              <a:t>order cannot be predicted</a:t>
            </a:r>
            <a:r>
              <a:rPr lang="en-US" sz="882" b="0" i="0" u="none" kern="1200" baseline="0" dirty="0">
                <a:solidFill>
                  <a:schemeClr val="tx1"/>
                </a:solidFill>
                <a:effectLst/>
                <a:latin typeface="+mn-lt"/>
                <a:ea typeface="+mn-ea"/>
                <a:cs typeface="+mn-cs"/>
              </a:rPr>
              <a:t>. </a:t>
            </a:r>
            <a:r>
              <a:rPr lang="en-US" sz="882" b="0" i="0" kern="1200" baseline="0" dirty="0">
                <a:solidFill>
                  <a:schemeClr val="tx1"/>
                </a:solidFill>
                <a:effectLst/>
                <a:latin typeface="+mn-lt"/>
                <a:ea typeface="+mn-ea"/>
                <a:cs typeface="+mn-cs"/>
              </a:rPr>
              <a:t>To guarantee the order of rows returned from a heap, you must use the </a:t>
            </a:r>
            <a:r>
              <a:rPr lang="en-US" sz="882" b="1" i="0" kern="1200" baseline="0" dirty="0">
                <a:solidFill>
                  <a:schemeClr val="tx1"/>
                </a:solidFill>
                <a:effectLst/>
                <a:latin typeface="+mn-lt"/>
                <a:ea typeface="+mn-ea"/>
                <a:cs typeface="+mn-cs"/>
              </a:rPr>
              <a:t>ORDER BY</a:t>
            </a:r>
            <a:r>
              <a:rPr lang="en-US" sz="882" b="0" i="0" kern="1200" baseline="0" dirty="0">
                <a:solidFill>
                  <a:schemeClr val="tx1"/>
                </a:solidFill>
                <a:effectLst/>
                <a:latin typeface="+mn-lt"/>
                <a:ea typeface="+mn-ea"/>
                <a:cs typeface="+mn-cs"/>
              </a:rPr>
              <a:t> clause. To specify the order for storage of the rows, create a clustered index on the table, so that the table is not a heap.</a:t>
            </a:r>
          </a:p>
          <a:p>
            <a:r>
              <a:rPr lang="en-US" sz="882" b="1" i="0" kern="1200" baseline="0" dirty="0">
                <a:solidFill>
                  <a:schemeClr val="tx1"/>
                </a:solidFill>
                <a:effectLst/>
                <a:latin typeface="+mn-lt"/>
                <a:ea typeface="+mn-ea"/>
                <a:cs typeface="+mn-cs"/>
              </a:rPr>
              <a:t>When Not to Use a Heap</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the data is frequently returned in a sorted order. A clustered index on the sorting column could avoid the sorting opera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the data is frequently grouped together. Data must be sorted before it is grouped, and a clustered index on the sorting column could avoid the sorting opera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ranges of data are frequently queried from the table. A clustered index on the range column will avoid sorting the entire heap.</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Do not use a heap when there are no nonclustered indexes and the table is large. In a heap, all rows of the heap must be read to find any row.</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a:p>
        </p:txBody>
      </p:sp>
    </p:spTree>
    <p:extLst>
      <p:ext uri="{BB962C8B-B14F-4D97-AF65-F5344CB8AC3E}">
        <p14:creationId xmlns:p14="http://schemas.microsoft.com/office/powerpoint/2010/main" val="3137709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Key Points:</a:t>
            </a:r>
          </a:p>
          <a:p>
            <a:endParaRPr lang="en-US"/>
          </a:p>
          <a:p>
            <a:pPr marL="381762" lvl="1" indent="-171450">
              <a:buFont typeface="Arial" panose="020B0604020202020204" pitchFamily="34" charset="0"/>
              <a:buChar char="•"/>
            </a:pPr>
            <a:r>
              <a:rPr lang="en-US"/>
              <a:t>Table scans or serial reads of a heap can be performed by scanning the IAM pages to find the extents that are holding pages for the heap.</a:t>
            </a:r>
          </a:p>
          <a:p>
            <a:pPr marL="381762" lvl="1" indent="-171450">
              <a:buFont typeface="Arial" panose="020B0604020202020204" pitchFamily="34" charset="0"/>
              <a:buChar char="•"/>
            </a:pPr>
            <a:r>
              <a:rPr lang="en-US"/>
              <a:t>Because the IAM represents extents in the same order that they exist in the data files, this means that serial heap scans progress sequentially through each file. </a:t>
            </a:r>
          </a:p>
          <a:p>
            <a:pPr marL="381762" lvl="1" indent="-171450">
              <a:buFont typeface="Arial" panose="020B0604020202020204" pitchFamily="34" charset="0"/>
              <a:buChar char="•"/>
            </a:pPr>
            <a:r>
              <a:rPr lang="en-US"/>
              <a:t>Using the IAM pages to set the scan sequence also means that rows from the heap are not typically returned in the order in which they were inserted.</a:t>
            </a:r>
          </a:p>
          <a:p>
            <a:pPr marL="381762" marR="0" lvl="1" indent="-171450" algn="l" defTabSz="914400" rtl="0" eaLnBrk="1" fontAlgn="auto" latinLnBrk="0" hangingPunct="1">
              <a:lnSpc>
                <a:spcPct val="90000"/>
              </a:lnSpc>
              <a:spcBef>
                <a:spcPts val="333"/>
              </a:spcBef>
              <a:spcAft>
                <a:spcPts val="0"/>
              </a:spcAft>
              <a:buClrTx/>
              <a:buSzTx/>
              <a:buFont typeface="Arial" panose="020B0604020202020204" pitchFamily="34" charset="0"/>
              <a:buChar char="•"/>
              <a:tabLst/>
              <a:defRPr/>
            </a:pPr>
            <a:r>
              <a:rPr lang="en-US"/>
              <a:t>Queries retrieving data from Heap objects will read all pages on that table. This is a very expensive operation.</a:t>
            </a:r>
          </a:p>
          <a:p>
            <a:pPr marL="171450" indent="-171450">
              <a:buFont typeface="Arial" panose="020B0604020202020204" pitchFamily="34" charset="0"/>
              <a:buChar char="•"/>
            </a:pPr>
            <a:endParaRPr lang="en-US"/>
          </a:p>
          <a:p>
            <a:r>
              <a:rPr lang="en-US"/>
              <a:t>=============</a:t>
            </a:r>
          </a:p>
          <a:p>
            <a:r>
              <a:rPr lang="en-US" b="1"/>
              <a:t>More Information</a:t>
            </a:r>
          </a:p>
          <a:p>
            <a:r>
              <a:rPr lang="en-US"/>
              <a:t>=============</a:t>
            </a:r>
          </a:p>
          <a:p>
            <a:endParaRPr lang="en-US"/>
          </a:p>
          <a:p>
            <a:r>
              <a:rPr lang="en-US"/>
              <a:t>The Diagram in slide illustrates how the SQL Server Database Engine uses IAM pages to retrieve data rows in a single partition heap.</a:t>
            </a:r>
          </a:p>
          <a:p>
            <a:endParaRPr lang="en-US"/>
          </a:p>
          <a:p>
            <a:r>
              <a:rPr lang="en-US" sz="882" b="1" i="0" kern="1200" baseline="0">
                <a:solidFill>
                  <a:schemeClr val="tx1"/>
                </a:solidFill>
                <a:effectLst/>
                <a:latin typeface="+mn-lt"/>
                <a:ea typeface="+mn-ea"/>
                <a:cs typeface="+mn-cs"/>
              </a:rPr>
              <a:t>Depending on the data types in the heap, each heap structure will have one or more allocation units to store and manage the data for a specific partition.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At a minimum, </a:t>
            </a:r>
            <a:r>
              <a:rPr lang="en-US" sz="882" b="0" i="0" u="sng" kern="1200" baseline="0">
                <a:solidFill>
                  <a:schemeClr val="tx1"/>
                </a:solidFill>
                <a:effectLst/>
                <a:latin typeface="+mn-lt"/>
                <a:ea typeface="+mn-ea"/>
                <a:cs typeface="+mn-cs"/>
              </a:rPr>
              <a:t>each heap will have one IN_ROW_DATA allocation unit per partition</a:t>
            </a:r>
            <a:r>
              <a:rPr lang="en-US" sz="882" b="0" i="0" kern="1200" baseline="0">
                <a:solidFill>
                  <a:schemeClr val="tx1"/>
                </a:solidFill>
                <a:effectLst/>
                <a:latin typeface="+mn-lt"/>
                <a:ea typeface="+mn-ea"/>
                <a:cs typeface="+mn-cs"/>
              </a:rPr>
              <a:t>.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The heap </a:t>
            </a:r>
            <a:r>
              <a:rPr lang="en-US" sz="882" b="0" i="0" u="sng" kern="1200" baseline="0">
                <a:solidFill>
                  <a:schemeClr val="tx1"/>
                </a:solidFill>
                <a:effectLst/>
                <a:latin typeface="+mn-lt"/>
                <a:ea typeface="+mn-ea"/>
                <a:cs typeface="+mn-cs"/>
              </a:rPr>
              <a:t>will also have one LOB_DATA allocation unit per partition, </a:t>
            </a:r>
            <a:r>
              <a:rPr lang="en-US" sz="882" b="1" i="0" u="sng" kern="1200" baseline="0">
                <a:solidFill>
                  <a:schemeClr val="tx1"/>
                </a:solidFill>
                <a:effectLst/>
                <a:latin typeface="+mn-lt"/>
                <a:ea typeface="+mn-ea"/>
                <a:cs typeface="+mn-cs"/>
              </a:rPr>
              <a:t>if it contains large object (LOB) columns</a:t>
            </a:r>
            <a:r>
              <a:rPr lang="en-US" sz="882" b="0" i="0" kern="1200" baseline="0">
                <a:solidFill>
                  <a:schemeClr val="tx1"/>
                </a:solidFill>
                <a:effectLst/>
                <a:latin typeface="+mn-lt"/>
                <a:ea typeface="+mn-ea"/>
                <a:cs typeface="+mn-cs"/>
              </a:rPr>
              <a:t>.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It will also </a:t>
            </a:r>
            <a:r>
              <a:rPr lang="en-US" sz="882" b="0" i="0" u="sng" kern="1200" baseline="0">
                <a:solidFill>
                  <a:schemeClr val="tx1"/>
                </a:solidFill>
                <a:effectLst/>
                <a:latin typeface="+mn-lt"/>
                <a:ea typeface="+mn-ea"/>
                <a:cs typeface="+mn-cs"/>
              </a:rPr>
              <a:t>have one ROW_OVERFLOW_DATA allocation unit per partition</a:t>
            </a:r>
            <a:r>
              <a:rPr lang="en-US" sz="882" b="0" i="0" u="none" kern="1200" baseline="0">
                <a:solidFill>
                  <a:schemeClr val="tx1"/>
                </a:solidFill>
                <a:effectLst/>
                <a:latin typeface="+mn-lt"/>
                <a:ea typeface="+mn-ea"/>
                <a:cs typeface="+mn-cs"/>
              </a:rPr>
              <a:t>, </a:t>
            </a:r>
            <a:r>
              <a:rPr lang="en-US" sz="882" b="1" i="0" kern="1200" baseline="0">
                <a:solidFill>
                  <a:schemeClr val="tx1"/>
                </a:solidFill>
                <a:effectLst/>
                <a:latin typeface="+mn-lt"/>
                <a:ea typeface="+mn-ea"/>
                <a:cs typeface="+mn-cs"/>
              </a:rPr>
              <a:t>if it contains variable length columns that exceed the 8,060 byte row size limit.</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The column first_iam_page in the sys.system_internals_allocation_units system view points to the first IAM page in the chain of IAM pages that manage the space allocated to the heap in a specific partition. </a:t>
            </a:r>
          </a:p>
          <a:p>
            <a:pPr marL="171450" indent="-171450">
              <a:buFont typeface="Arial" panose="020B0604020202020204" pitchFamily="34" charset="0"/>
              <a:buChar char="•"/>
            </a:pPr>
            <a:r>
              <a:rPr lang="en-US" sz="882" b="0" i="0" kern="1200" baseline="0">
                <a:solidFill>
                  <a:schemeClr val="tx1"/>
                </a:solidFill>
                <a:effectLst/>
                <a:latin typeface="+mn-lt"/>
                <a:ea typeface="+mn-ea"/>
                <a:cs typeface="+mn-cs"/>
              </a:rPr>
              <a:t>SQL Server uses the IAM pages to move through the heap.</a:t>
            </a:r>
          </a:p>
          <a:p>
            <a:endParaRPr lang="en-US"/>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a:p>
        </p:txBody>
      </p:sp>
    </p:spTree>
    <p:extLst>
      <p:ext uri="{BB962C8B-B14F-4D97-AF65-F5344CB8AC3E}">
        <p14:creationId xmlns:p14="http://schemas.microsoft.com/office/powerpoint/2010/main" val="16242618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47021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70818494"/>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543009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240914"/>
      </p:ext>
    </p:extLst>
  </p:cSld>
  <p:clrMapOvr>
    <a:masterClrMapping/>
  </p:clrMapOvr>
  <p:extLst>
    <p:ext uri="{DCECCB84-F9BA-43D5-87BE-67443E8EF086}">
      <p15:sldGuideLst xmlns:p15="http://schemas.microsoft.com/office/powerpoint/2012/main">
        <p15:guide id="10" pos="413" userDrawn="1">
          <p15:clr>
            <a:srgbClr val="547EBF"/>
          </p15:clr>
        </p15:guide>
        <p15:guide id="11" orient="horz" pos="789" userDrawn="1">
          <p15:clr>
            <a:srgbClr val="547EBF"/>
          </p15:clr>
        </p15:guide>
        <p15:guide id="12" orient="horz" pos="887" userDrawn="1">
          <p15:clr>
            <a:srgbClr val="547EBF"/>
          </p15:clr>
        </p15:guide>
        <p15:guide id="13" pos="3742" userDrawn="1">
          <p15:clr>
            <a:srgbClr val="547EBF"/>
          </p15:clr>
        </p15:guide>
        <p15:guide id="14" pos="3938" userDrawn="1">
          <p15:clr>
            <a:srgbClr val="547EBF"/>
          </p15:clr>
        </p15:guide>
        <p15:guide id="15" pos="7267" userDrawn="1">
          <p15:clr>
            <a:srgbClr val="547EBF"/>
          </p15:clr>
        </p15:guide>
        <p15:guide id="16" orient="horz" pos="495" userDrawn="1">
          <p15:clr>
            <a:srgbClr val="547EBF"/>
          </p15:clr>
        </p15:guide>
        <p15:guide id="17" orient="horz" pos="202" userDrawn="1">
          <p15:clr>
            <a:srgbClr val="547EBF"/>
          </p15:clr>
        </p15:guide>
        <p15:guide id="18" orient="horz" pos="3923"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5153712"/>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478427994"/>
      </p:ext>
    </p:extLst>
  </p:cSld>
  <p:clrMapOvr>
    <a:masterClrMapping/>
  </p:clrMapOvr>
  <p:extLst>
    <p:ext uri="{DCECCB84-F9BA-43D5-87BE-67443E8EF086}">
      <p15:sldGuideLst xmlns:p15="http://schemas.microsoft.com/office/powerpoint/2012/main">
        <p15:guide id="30" pos="3742" userDrawn="1">
          <p15:clr>
            <a:srgbClr val="547EBF"/>
          </p15:clr>
        </p15:guide>
        <p15:guide id="31" orient="horz" pos="887" userDrawn="1">
          <p15:clr>
            <a:srgbClr val="547EBF"/>
          </p15:clr>
        </p15:guide>
        <p15:guide id="32" pos="3938" userDrawn="1">
          <p15:clr>
            <a:srgbClr val="547EBF"/>
          </p15:clr>
        </p15:guide>
        <p15:guide id="33" pos="3350" userDrawn="1">
          <p15:clr>
            <a:srgbClr val="A4A3A4"/>
          </p15:clr>
        </p15:guide>
        <p15:guide id="34" pos="3155" userDrawn="1">
          <p15:clr>
            <a:srgbClr val="A4A3A4"/>
          </p15:clr>
        </p15:guide>
        <p15:guide id="35" pos="2763" userDrawn="1">
          <p15:clr>
            <a:srgbClr val="A4A3A4"/>
          </p15:clr>
        </p15:guide>
        <p15:guide id="36" pos="2567" userDrawn="1">
          <p15:clr>
            <a:srgbClr val="A4A3A4"/>
          </p15:clr>
        </p15:guide>
        <p15:guide id="37" pos="2175" userDrawn="1">
          <p15:clr>
            <a:srgbClr val="A4A3A4"/>
          </p15:clr>
        </p15:guide>
        <p15:guide id="38" pos="1980" userDrawn="1">
          <p15:clr>
            <a:srgbClr val="A4A3A4"/>
          </p15:clr>
        </p15:guide>
        <p15:guide id="39" pos="1588" userDrawn="1">
          <p15:clr>
            <a:srgbClr val="A4A3A4"/>
          </p15:clr>
        </p15:guide>
        <p15:guide id="40" pos="1392" userDrawn="1">
          <p15:clr>
            <a:srgbClr val="A4A3A4"/>
          </p15:clr>
        </p15:guide>
        <p15:guide id="41" pos="1000" userDrawn="1">
          <p15:clr>
            <a:srgbClr val="A4A3A4"/>
          </p15:clr>
        </p15:guide>
        <p15:guide id="42" pos="804" userDrawn="1">
          <p15:clr>
            <a:srgbClr val="A4A3A4"/>
          </p15:clr>
        </p15:guide>
        <p15:guide id="43" pos="413" userDrawn="1">
          <p15:clr>
            <a:srgbClr val="547EBF"/>
          </p15:clr>
        </p15:guide>
        <p15:guide id="44" pos="4330" userDrawn="1">
          <p15:clr>
            <a:srgbClr val="A4A3A4"/>
          </p15:clr>
        </p15:guide>
        <p15:guide id="45" pos="4525" userDrawn="1">
          <p15:clr>
            <a:srgbClr val="A4A3A4"/>
          </p15:clr>
        </p15:guide>
        <p15:guide id="46" pos="5505" userDrawn="1">
          <p15:clr>
            <a:srgbClr val="A4A3A4"/>
          </p15:clr>
        </p15:guide>
        <p15:guide id="47" pos="5113" userDrawn="1">
          <p15:clr>
            <a:srgbClr val="A4A3A4"/>
          </p15:clr>
        </p15:guide>
        <p15:guide id="48" pos="4917" userDrawn="1">
          <p15:clr>
            <a:srgbClr val="A4A3A4"/>
          </p15:clr>
        </p15:guide>
        <p15:guide id="49" pos="5700" userDrawn="1">
          <p15:clr>
            <a:srgbClr val="A4A3A4"/>
          </p15:clr>
        </p15:guide>
        <p15:guide id="50" pos="6092" userDrawn="1">
          <p15:clr>
            <a:srgbClr val="A4A3A4"/>
          </p15:clr>
        </p15:guide>
        <p15:guide id="51" pos="6288" userDrawn="1">
          <p15:clr>
            <a:srgbClr val="A4A3A4"/>
          </p15:clr>
        </p15:guide>
        <p15:guide id="52" pos="6680" userDrawn="1">
          <p15:clr>
            <a:srgbClr val="A4A3A4"/>
          </p15:clr>
        </p15:guide>
        <p15:guide id="53" pos="6876" userDrawn="1">
          <p15:clr>
            <a:srgbClr val="A4A3A4"/>
          </p15:clr>
        </p15:guide>
        <p15:guide id="54" pos="7267" userDrawn="1">
          <p15:clr>
            <a:srgbClr val="547EBF"/>
          </p15:clr>
        </p15:guide>
        <p15:guide id="55" orient="horz" pos="3923" userDrawn="1">
          <p15:clr>
            <a:srgbClr val="547EBF"/>
          </p15:clr>
        </p15:guide>
        <p15:guide id="56" orient="horz" pos="789" userDrawn="1">
          <p15:clr>
            <a:srgbClr val="547EBF"/>
          </p15:clr>
        </p15:guide>
        <p15:guide id="57" orient="horz" pos="202" userDrawn="1">
          <p15:clr>
            <a:srgbClr val="547EBF"/>
          </p15:clr>
        </p15:guide>
        <p15:guide id="58" orient="horz" pos="495" userDrawn="1">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082325972"/>
      </p:ext>
    </p:extLst>
  </p:cSld>
  <p:clrMapOvr>
    <a:masterClrMapping/>
  </p:clrMapOvr>
  <p:extLst>
    <p:ext uri="{DCECCB84-F9BA-43D5-87BE-67443E8EF086}">
      <p15:sldGuideLst xmlns:p15="http://schemas.microsoft.com/office/powerpoint/2012/main">
        <p15:guide id="30" pos="413" userDrawn="1">
          <p15:clr>
            <a:srgbClr val="547EBF"/>
          </p15:clr>
        </p15:guide>
        <p15:guide id="31" orient="horz" pos="887" userDrawn="1">
          <p15:clr>
            <a:srgbClr val="547EBF"/>
          </p15:clr>
        </p15:guide>
        <p15:guide id="32" orient="horz" pos="789" userDrawn="1">
          <p15:clr>
            <a:srgbClr val="547EBF"/>
          </p15:clr>
        </p15:guide>
        <p15:guide id="33" orient="horz" pos="495" userDrawn="1">
          <p15:clr>
            <a:srgbClr val="547EBF"/>
          </p15:clr>
        </p15:guide>
        <p15:guide id="34" orient="horz" pos="202" userDrawn="1">
          <p15:clr>
            <a:srgbClr val="547EBF"/>
          </p15:clr>
        </p15:guide>
        <p15:guide id="35" orient="horz" pos="3923" userDrawn="1">
          <p15:clr>
            <a:srgbClr val="547EBF"/>
          </p15:clr>
        </p15:guide>
        <p15:guide id="36" pos="804" userDrawn="1">
          <p15:clr>
            <a:srgbClr val="A4A3A4"/>
          </p15:clr>
        </p15:guide>
        <p15:guide id="37" pos="1000" userDrawn="1">
          <p15:clr>
            <a:srgbClr val="A4A3A4"/>
          </p15:clr>
        </p15:guide>
        <p15:guide id="38" pos="1392" userDrawn="1">
          <p15:clr>
            <a:srgbClr val="A4A3A4"/>
          </p15:clr>
        </p15:guide>
        <p15:guide id="39" pos="1588" userDrawn="1">
          <p15:clr>
            <a:srgbClr val="A4A3A4"/>
          </p15:clr>
        </p15:guide>
        <p15:guide id="40" pos="1980" userDrawn="1">
          <p15:clr>
            <a:srgbClr val="A4A3A4"/>
          </p15:clr>
        </p15:guide>
        <p15:guide id="41" pos="2175" userDrawn="1">
          <p15:clr>
            <a:srgbClr val="A4A3A4"/>
          </p15:clr>
        </p15:guide>
        <p15:guide id="42" pos="2567" userDrawn="1">
          <p15:clr>
            <a:srgbClr val="A4A3A4"/>
          </p15:clr>
        </p15:guide>
        <p15:guide id="43" pos="2763" userDrawn="1">
          <p15:clr>
            <a:srgbClr val="A4A3A4"/>
          </p15:clr>
        </p15:guide>
        <p15:guide id="44" pos="3155" userDrawn="1">
          <p15:clr>
            <a:srgbClr val="A4A3A4"/>
          </p15:clr>
        </p15:guide>
        <p15:guide id="45" pos="3350" userDrawn="1">
          <p15:clr>
            <a:srgbClr val="A4A3A4"/>
          </p15:clr>
        </p15:guide>
        <p15:guide id="46" pos="3742" userDrawn="1">
          <p15:clr>
            <a:srgbClr val="547EBF"/>
          </p15:clr>
        </p15:guide>
        <p15:guide id="47" pos="3938" userDrawn="1">
          <p15:clr>
            <a:srgbClr val="547EBF"/>
          </p15:clr>
        </p15:guide>
        <p15:guide id="48" pos="4330" userDrawn="1">
          <p15:clr>
            <a:srgbClr val="A4A3A4"/>
          </p15:clr>
        </p15:guide>
        <p15:guide id="49" pos="4525" userDrawn="1">
          <p15:clr>
            <a:srgbClr val="A4A3A4"/>
          </p15:clr>
        </p15:guide>
        <p15:guide id="50" pos="5113" userDrawn="1">
          <p15:clr>
            <a:srgbClr val="A4A3A4"/>
          </p15:clr>
        </p15:guide>
        <p15:guide id="51" pos="4917" userDrawn="1">
          <p15:clr>
            <a:srgbClr val="A4A3A4"/>
          </p15:clr>
        </p15:guide>
        <p15:guide id="52" pos="5505" userDrawn="1">
          <p15:clr>
            <a:srgbClr val="A4A3A4"/>
          </p15:clr>
        </p15:guide>
        <p15:guide id="53" pos="5700" userDrawn="1">
          <p15:clr>
            <a:srgbClr val="A4A3A4"/>
          </p15:clr>
        </p15:guide>
        <p15:guide id="54" pos="6092" userDrawn="1">
          <p15:clr>
            <a:srgbClr val="A4A3A4"/>
          </p15:clr>
        </p15:guide>
        <p15:guide id="55" pos="6288" userDrawn="1">
          <p15:clr>
            <a:srgbClr val="A4A3A4"/>
          </p15:clr>
        </p15:guide>
        <p15:guide id="56" pos="6680" userDrawn="1">
          <p15:clr>
            <a:srgbClr val="A4A3A4"/>
          </p15:clr>
        </p15:guide>
        <p15:guide id="57" pos="6876" userDrawn="1">
          <p15:clr>
            <a:srgbClr val="A4A3A4"/>
          </p15:clr>
        </p15:guide>
        <p15:guide id="58" pos="7267" userDrawn="1">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65962699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541337545"/>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1198557511"/>
      </p:ext>
    </p:extLst>
  </p:cSld>
  <p:clrMapOvr>
    <a:masterClrMapping/>
  </p:clrMapOvr>
  <p:extLst>
    <p:ext uri="{DCECCB84-F9BA-43D5-87BE-67443E8EF086}">
      <p15:sldGuideLst xmlns:p15="http://schemas.microsoft.com/office/powerpoint/2012/main">
        <p15:guide id="6" pos="413" userDrawn="1">
          <p15:clr>
            <a:srgbClr val="547EBF"/>
          </p15:clr>
        </p15:guide>
        <p15:guide id="7" pos="6092" userDrawn="1">
          <p15:clr>
            <a:srgbClr val="547EBF"/>
          </p15:clr>
        </p15:guide>
        <p15:guide id="8" orient="horz" pos="2160" userDrawn="1">
          <p15:clr>
            <a:srgbClr val="547EBF"/>
          </p15:clr>
        </p15:guide>
        <p15:guide id="9" orient="horz" pos="2258" userDrawn="1">
          <p15:clr>
            <a:srgbClr val="547EBF"/>
          </p15:clr>
        </p15:guide>
        <p15:guide id="10" orient="horz" pos="1866" userDrawn="1">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03848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6453520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86417161"/>
      </p:ext>
    </p:extLst>
  </p:cSld>
  <p:clrMapOvr>
    <a:masterClrMapping/>
  </p:clrMapOvr>
  <p:extLst>
    <p:ext uri="{DCECCB84-F9BA-43D5-87BE-67443E8EF086}">
      <p15:sldGuideLst xmlns:p15="http://schemas.microsoft.com/office/powerpoint/2012/main">
        <p15:guide id="17" orient="horz" pos="1964" userDrawn="1">
          <p15:clr>
            <a:srgbClr val="547EBF"/>
          </p15:clr>
        </p15:guide>
        <p15:guide id="18" orient="horz" pos="2258" userDrawn="1">
          <p15:clr>
            <a:srgbClr val="547EBF"/>
          </p15:clr>
        </p15:guide>
        <p15:guide id="19" pos="3350" userDrawn="1">
          <p15:clr>
            <a:srgbClr val="547EBF"/>
          </p15:clr>
        </p15:guide>
        <p15:guide id="20" pos="3155" userDrawn="1">
          <p15:clr>
            <a:srgbClr val="547EBF"/>
          </p15:clr>
        </p15:guide>
        <p15:guide id="21" pos="413" userDrawn="1">
          <p15:clr>
            <a:srgbClr val="547EBF"/>
          </p15:clr>
        </p15:guide>
        <p15:guide id="22" orient="horz" pos="397" userDrawn="1">
          <p15:clr>
            <a:srgbClr val="547EBF"/>
          </p15:clr>
        </p15:guide>
        <p15:guide id="23" orient="horz" pos="3923" userDrawn="1">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1684691"/>
      </p:ext>
    </p:extLst>
  </p:cSld>
  <p:clrMapOvr>
    <a:masterClrMapping/>
  </p:clrMapOvr>
  <p:extLst>
    <p:ext uri="{DCECCB84-F9BA-43D5-87BE-67443E8EF086}">
      <p15:sldGuideLst xmlns:p15="http://schemas.microsoft.com/office/powerpoint/2012/main">
        <p15:guide id="17" orient="horz" pos="864" userDrawn="1">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809322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41822652"/>
      </p:ext>
    </p:extLst>
  </p:cSld>
  <p:clrMapOvr>
    <a:masterClrMapping/>
  </p:clrMapOvr>
  <p:extLst>
    <p:ext uri="{DCECCB84-F9BA-43D5-87BE-67443E8EF086}">
      <p15:sldGuideLst xmlns:p15="http://schemas.microsoft.com/office/powerpoint/2012/main">
        <p15:guide id="10" orient="horz" pos="397" userDrawn="1">
          <p15:clr>
            <a:srgbClr val="547EBF"/>
          </p15:clr>
        </p15:guide>
        <p15:guide id="11" pos="3155" userDrawn="1">
          <p15:clr>
            <a:srgbClr val="547EBF"/>
          </p15:clr>
        </p15:guide>
        <p15:guide id="12" pos="3350" userDrawn="1">
          <p15:clr>
            <a:srgbClr val="547EBF"/>
          </p15:clr>
        </p15:guide>
        <p15:guide id="13" pos="413" userDrawn="1">
          <p15:clr>
            <a:srgbClr val="547EBF"/>
          </p15:clr>
        </p15:guide>
        <p15:guide id="14" orient="horz" pos="3923" userDrawn="1">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916159362"/>
      </p:ext>
    </p:extLst>
  </p:cSld>
  <p:clrMapOvr>
    <a:masterClrMapping/>
  </p:clrMapOvr>
  <p:extLst>
    <p:ext uri="{DCECCB84-F9BA-43D5-87BE-67443E8EF086}">
      <p15:sldGuideLst xmlns:p15="http://schemas.microsoft.com/office/powerpoint/2012/main">
        <p15:guide id="8" orient="horz" pos="1877" userDrawn="1">
          <p15:clr>
            <a:srgbClr val="547EBF"/>
          </p15:clr>
        </p15:guide>
        <p15:guide id="9" orient="horz" pos="3923" userDrawn="1">
          <p15:clr>
            <a:srgbClr val="547EBF"/>
          </p15:clr>
        </p15:guide>
        <p15:guide id="10" pos="3350" userDrawn="1">
          <p15:clr>
            <a:srgbClr val="547EBF"/>
          </p15:clr>
        </p15:guide>
        <p15:guide id="11" pos="3155" userDrawn="1">
          <p15:clr>
            <a:srgbClr val="547EBF"/>
          </p15:clr>
        </p15:guide>
        <p15:guide id="12" pos="413" userDrawn="1">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03300898"/>
      </p:ext>
    </p:extLst>
  </p:cSld>
  <p:clrMapOvr>
    <a:masterClrMapping/>
  </p:clrMapOvr>
  <p:extLst>
    <p:ext uri="{DCECCB84-F9BA-43D5-87BE-67443E8EF086}">
      <p15:sldGuideLst xmlns:p15="http://schemas.microsoft.com/office/powerpoint/2012/main">
        <p15:guide id="10" orient="horz" pos="2943" userDrawn="1">
          <p15:clr>
            <a:srgbClr val="547EBF"/>
          </p15:clr>
        </p15:guide>
        <p15:guide id="11" orient="horz" pos="3923" userDrawn="1">
          <p15:clr>
            <a:srgbClr val="547EBF"/>
          </p15:clr>
        </p15:guide>
        <p15:guide id="12" orient="horz" pos="3139"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63496086"/>
      </p:ext>
    </p:extLst>
  </p:cSld>
  <p:clrMapOvr>
    <a:masterClrMapping/>
  </p:clrMapOvr>
  <p:extLst>
    <p:ext uri="{DCECCB84-F9BA-43D5-87BE-67443E8EF086}">
      <p15:sldGuideLst xmlns:p15="http://schemas.microsoft.com/office/powerpoint/2012/main">
        <p15:guide id="10" orient="horz" pos="1279" userDrawn="1">
          <p15:clr>
            <a:srgbClr val="547EBF"/>
          </p15:clr>
        </p15:guide>
        <p15:guide id="11" orient="horz" pos="397" userDrawn="1">
          <p15:clr>
            <a:srgbClr val="547EBF"/>
          </p15:clr>
        </p15:guide>
        <p15:guide id="12" orient="horz" pos="1181" userDrawn="1">
          <p15:clr>
            <a:srgbClr val="547EBF"/>
          </p15:clr>
        </p15:guide>
        <p15:guide id="13" pos="413" userDrawn="1">
          <p15:clr>
            <a:srgbClr val="547EBF"/>
          </p15:clr>
        </p15:guide>
        <p15:guide id="14" pos="7267"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4198284"/>
      </p:ext>
    </p:extLst>
  </p:cSld>
  <p:clrMapOvr>
    <a:masterClrMapping/>
  </p:clrMapOvr>
  <p:extLst>
    <p:ext uri="{DCECCB84-F9BA-43D5-87BE-67443E8EF086}">
      <p15:sldGuideLst xmlns:p15="http://schemas.microsoft.com/office/powerpoint/2012/main">
        <p15:guide id="15" orient="horz" pos="3433" userDrawn="1">
          <p15:clr>
            <a:srgbClr val="547EBF"/>
          </p15:clr>
        </p15:guide>
        <p15:guide id="16" orient="horz" pos="1276" userDrawn="1">
          <p15:clr>
            <a:srgbClr val="547EBF"/>
          </p15:clr>
        </p15:guide>
        <p15:guide id="17" pos="3749" userDrawn="1">
          <p15:clr>
            <a:srgbClr val="547EBF"/>
          </p15:clr>
        </p15:guide>
        <p15:guide id="18" pos="3931" userDrawn="1">
          <p15:clr>
            <a:srgbClr val="547EBF"/>
          </p15:clr>
        </p15:guide>
        <p15:guide id="19" orient="horz" pos="3531" userDrawn="1">
          <p15:clr>
            <a:srgbClr val="547EBF"/>
          </p15:clr>
        </p15:guide>
        <p15:guide id="20" orient="horz" pos="3923" userDrawn="1">
          <p15:clr>
            <a:srgbClr val="547EBF"/>
          </p15:clr>
        </p15:guide>
        <p15:guide id="21" pos="413" userDrawn="1">
          <p15:clr>
            <a:srgbClr val="547EBF"/>
          </p15:clr>
        </p15:guide>
        <p15:guide id="22" pos="7267" userDrawn="1">
          <p15:clr>
            <a:srgbClr val="547EBF"/>
          </p15:clr>
        </p15:guide>
        <p15:guide id="23" orient="horz" pos="202" userDrawn="1">
          <p15:clr>
            <a:srgbClr val="547EBF"/>
          </p15:clr>
        </p15:guide>
        <p15:guide id="24" orient="horz" pos="495" userDrawn="1">
          <p15:clr>
            <a:srgbClr val="547EBF"/>
          </p15:clr>
        </p15:guide>
        <p15:guide id="25" orient="horz" pos="789" userDrawn="1">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01445911"/>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08169698"/>
      </p:ext>
    </p:extLst>
  </p:cSld>
  <p:clrMapOvr>
    <a:masterClrMapping/>
  </p:clrMapOvr>
  <p:extLst>
    <p:ext uri="{DCECCB84-F9BA-43D5-87BE-67443E8EF086}">
      <p15:sldGuideLst xmlns:p15="http://schemas.microsoft.com/office/powerpoint/2012/main">
        <p15:guide id="21" orient="horz" pos="3531" userDrawn="1">
          <p15:clr>
            <a:srgbClr val="547EBF"/>
          </p15:clr>
        </p15:guide>
        <p15:guide id="22" orient="horz" pos="1279" userDrawn="1">
          <p15:clr>
            <a:srgbClr val="547EBF"/>
          </p15:clr>
        </p15:guide>
        <p15:guide id="23" orient="horz" pos="3433" userDrawn="1">
          <p15:clr>
            <a:srgbClr val="547EBF"/>
          </p15:clr>
        </p15:guide>
        <p15:guide id="24" orient="horz" pos="202" userDrawn="1">
          <p15:clr>
            <a:srgbClr val="547EBF"/>
          </p15:clr>
        </p15:guide>
        <p15:guide id="25" orient="horz" pos="495" userDrawn="1">
          <p15:clr>
            <a:srgbClr val="547EBF"/>
          </p15:clr>
        </p15:guide>
        <p15:guide id="26" orient="horz" pos="789" userDrawn="1">
          <p15:clr>
            <a:srgbClr val="547EBF"/>
          </p15:clr>
        </p15:guide>
        <p15:guide id="27" pos="413" userDrawn="1">
          <p15:clr>
            <a:srgbClr val="547EBF"/>
          </p15:clr>
        </p15:guide>
        <p15:guide id="28" pos="7267" userDrawn="1">
          <p15:clr>
            <a:srgbClr val="547EBF"/>
          </p15:clr>
        </p15:guide>
        <p15:guide id="29" orient="horz" pos="3923" userDrawn="1">
          <p15:clr>
            <a:srgbClr val="547EBF"/>
          </p15:clr>
        </p15:guide>
        <p15:guide id="30" pos="2567" userDrawn="1">
          <p15:clr>
            <a:srgbClr val="547EBF"/>
          </p15:clr>
        </p15:guide>
        <p15:guide id="31" pos="2763" userDrawn="1">
          <p15:clr>
            <a:srgbClr val="547EBF"/>
          </p15:clr>
        </p15:guide>
        <p15:guide id="32" pos="4917" userDrawn="1">
          <p15:clr>
            <a:srgbClr val="547EBF"/>
          </p15:clr>
        </p15:guide>
        <p15:guide id="33" pos="5113"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05646232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80109012"/>
      </p:ext>
    </p:extLst>
  </p:cSld>
  <p:clrMapOvr>
    <a:masterClrMapping/>
  </p:clrMapOvr>
  <p:extLst>
    <p:ext uri="{DCECCB84-F9BA-43D5-87BE-67443E8EF086}">
      <p15:sldGuideLst xmlns:p15="http://schemas.microsoft.com/office/powerpoint/2012/main">
        <p15:guide id="18" orient="horz" pos="2943" userDrawn="1">
          <p15:clr>
            <a:srgbClr val="547EBF"/>
          </p15:clr>
        </p15:guide>
        <p15:guide id="19" orient="horz" pos="1279" userDrawn="1">
          <p15:clr>
            <a:srgbClr val="547EBF"/>
          </p15:clr>
        </p15:guide>
        <p15:guide id="20" orient="horz" pos="2845" userDrawn="1">
          <p15:clr>
            <a:srgbClr val="547EBF"/>
          </p15:clr>
        </p15:guide>
        <p15:guide id="21" orient="horz" pos="3936" userDrawn="1">
          <p15:clr>
            <a:srgbClr val="547EBF"/>
          </p15:clr>
        </p15:guide>
        <p15:guide id="22" orient="horz" pos="202" userDrawn="1">
          <p15:clr>
            <a:srgbClr val="547EBF"/>
          </p15:clr>
        </p15:guide>
        <p15:guide id="23" orient="horz" pos="495" userDrawn="1">
          <p15:clr>
            <a:srgbClr val="547EBF"/>
          </p15:clr>
        </p15:guide>
        <p15:guide id="24" orient="horz" pos="789" userDrawn="1">
          <p15:clr>
            <a:srgbClr val="547EBF"/>
          </p15:clr>
        </p15:guide>
        <p15:guide id="25" pos="413" userDrawn="1">
          <p15:clr>
            <a:srgbClr val="547EBF"/>
          </p15:clr>
        </p15:guide>
        <p15:guide id="26" pos="7267" userDrawn="1">
          <p15:clr>
            <a:srgbClr val="547EBF"/>
          </p15:clr>
        </p15:guide>
        <p15:guide id="27" pos="1980" userDrawn="1">
          <p15:clr>
            <a:srgbClr val="547EBF"/>
          </p15:clr>
        </p15:guide>
        <p15:guide id="28" pos="2175" userDrawn="1">
          <p15:clr>
            <a:srgbClr val="547EBF"/>
          </p15:clr>
        </p15:guide>
        <p15:guide id="29" pos="3742" userDrawn="1">
          <p15:clr>
            <a:srgbClr val="547EBF"/>
          </p15:clr>
        </p15:guide>
        <p15:guide id="30" pos="3938" userDrawn="1">
          <p15:clr>
            <a:srgbClr val="547EBF"/>
          </p15:clr>
        </p15:guide>
        <p15:guide id="31" pos="5700" userDrawn="1">
          <p15:clr>
            <a:srgbClr val="547EBF"/>
          </p15:clr>
        </p15:guide>
        <p15:guide id="32" pos="5505"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04603587"/>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8333319"/>
      </p:ext>
    </p:extLst>
  </p:cSld>
  <p:clrMapOvr>
    <a:masterClrMapping/>
  </p:clrMapOvr>
  <p:extLst>
    <p:ext uri="{DCECCB84-F9BA-43D5-87BE-67443E8EF086}">
      <p15:sldGuideLst xmlns:p15="http://schemas.microsoft.com/office/powerpoint/2012/main">
        <p15:guide id="20" pos="4944" userDrawn="1">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326841"/>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72066686"/>
      </p:ext>
    </p:extLst>
  </p:cSld>
  <p:clrMapOvr>
    <a:masterClrMapping/>
  </p:clrMapOvr>
  <p:extLst>
    <p:ext uri="{DCECCB84-F9BA-43D5-87BE-67443E8EF086}">
      <p15:sldGuideLst xmlns:p15="http://schemas.microsoft.com/office/powerpoint/2012/main">
        <p15:guide id="36" orient="horz" pos="3936" userDrawn="1">
          <p15:clr>
            <a:srgbClr val="547EBF"/>
          </p15:clr>
        </p15:guide>
        <p15:guide id="37" pos="2376" userDrawn="1">
          <p15:clr>
            <a:srgbClr val="FFFFFF"/>
          </p15:clr>
        </p15:guide>
        <p15:guide id="38" orient="horz" pos="880" userDrawn="1">
          <p15:clr>
            <a:srgbClr val="547EBF"/>
          </p15:clr>
        </p15:guide>
        <p15:guide id="39" pos="4656" userDrawn="1">
          <p15:clr>
            <a:srgbClr val="547EBF"/>
          </p15:clr>
        </p15:guide>
        <p15:guide id="40" pos="7267" userDrawn="1">
          <p15:clr>
            <a:srgbClr val="547EBF"/>
          </p15:clr>
        </p15:guide>
        <p15:guide id="41" pos="2763" userDrawn="1">
          <p15:clr>
            <a:srgbClr val="547EBF"/>
          </p15:clr>
        </p15:guide>
        <p15:guide id="42" pos="413" userDrawn="1">
          <p15:clr>
            <a:srgbClr val="FFFFFF"/>
          </p15:clr>
        </p15:guide>
        <p15:guide id="43" pos="480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263235"/>
      </p:ext>
    </p:extLst>
  </p:cSld>
  <p:clrMapOvr>
    <a:masterClrMapping/>
  </p:clrMapOvr>
  <p:extLst>
    <p:ext uri="{DCECCB84-F9BA-43D5-87BE-67443E8EF086}">
      <p15:sldGuideLst xmlns:p15="http://schemas.microsoft.com/office/powerpoint/2012/main">
        <p15:guide id="8" pos="413" userDrawn="1">
          <p15:clr>
            <a:srgbClr val="547EBF"/>
          </p15:clr>
        </p15:guide>
        <p15:guide id="9" orient="horz" pos="495" userDrawn="1">
          <p15:clr>
            <a:srgbClr val="547EBF"/>
          </p15:clr>
        </p15:guide>
        <p15:guide id="10" pos="7267" userDrawn="1">
          <p15:clr>
            <a:srgbClr val="547EBF"/>
          </p15:clr>
        </p15:guide>
        <p15:guide id="11" orient="horz" pos="202" userDrawn="1">
          <p15:clr>
            <a:srgbClr val="547EBF"/>
          </p15:clr>
        </p15:guide>
        <p15:guide id="12" orient="horz" pos="789" userDrawn="1">
          <p15:clr>
            <a:srgbClr val="547EBF"/>
          </p15:clr>
        </p15:guide>
        <p15:guide id="13" orient="horz" pos="912" userDrawn="1">
          <p15:clr>
            <a:srgbClr val="547EBF"/>
          </p15:clr>
        </p15:guide>
        <p15:guide id="14" orient="horz" pos="3923"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276970"/>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92501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92938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2769820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8840678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623397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userDrawn="1">
          <p15:clr>
            <a:srgbClr val="FFFFFF"/>
          </p15:clr>
        </p15:guide>
        <p15:guide id="10" orient="horz" pos="495" userDrawn="1">
          <p15:clr>
            <a:srgbClr val="FFFFFF"/>
          </p15:clr>
        </p15:guide>
        <p15:guide id="11" orient="horz" pos="887" userDrawn="1">
          <p15:clr>
            <a:srgbClr val="FFFFFF"/>
          </p15:clr>
        </p15:guide>
        <p15:guide id="12" orient="horz" pos="3923" userDrawn="1">
          <p15:clr>
            <a:srgbClr val="FFFFFF"/>
          </p15:clr>
        </p15:guide>
        <p15:guide id="13" pos="413" userDrawn="1">
          <p15:clr>
            <a:srgbClr val="FFFFFF"/>
          </p15:clr>
        </p15:guide>
        <p15:guide id="14" pos="7267" userDrawn="1">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02263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1804277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60710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12" indent="0" algn="ctr">
              <a:buNone/>
              <a:defRPr>
                <a:solidFill>
                  <a:schemeClr val="tx1">
                    <a:tint val="75000"/>
                  </a:schemeClr>
                </a:solidFill>
              </a:defRPr>
            </a:lvl2pPr>
            <a:lvl3pPr marL="914225" indent="0" algn="ctr">
              <a:buNone/>
              <a:defRPr>
                <a:solidFill>
                  <a:schemeClr val="tx1">
                    <a:tint val="75000"/>
                  </a:schemeClr>
                </a:solidFill>
              </a:defRPr>
            </a:lvl3pPr>
            <a:lvl4pPr marL="1371337"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4"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F85E53AC-C7F6-4C31-9180-F583D71E520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312860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097185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46842594"/>
      </p:ext>
    </p:extLst>
  </p:cSld>
  <p:clrMapOvr>
    <a:masterClrMapping/>
  </p:clrMapOvr>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74877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4309097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604069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712469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93679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835537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491966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23901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362124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452931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5746262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888873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22353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75115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17760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74210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5493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96305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5311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0719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175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5985641"/>
      </p:ext>
    </p:extLst>
  </p:cSld>
  <p:clrMapOvr>
    <a:masterClrMapping/>
  </p:clrMapOvr>
  <p:extLst>
    <p:ext uri="{DCECCB84-F9BA-43D5-87BE-67443E8EF086}">
      <p15:sldGuideLst xmlns:p15="http://schemas.microsoft.com/office/powerpoint/2012/main">
        <p15:guide id="9" orient="horz" pos="2160" userDrawn="1">
          <p15:clr>
            <a:srgbClr val="A4A3A4"/>
          </p15:clr>
        </p15:guide>
        <p15:guide id="10" orient="horz" pos="2258" userDrawn="1">
          <p15:clr>
            <a:srgbClr val="547EBF"/>
          </p15:clr>
        </p15:guide>
        <p15:guide id="11" orient="horz" pos="1866" userDrawn="1">
          <p15:clr>
            <a:srgbClr val="547EBF"/>
          </p15:clr>
        </p15:guide>
        <p15:guide id="12" orient="horz" pos="2650" userDrawn="1">
          <p15:clr>
            <a:srgbClr val="547EBF"/>
          </p15:clr>
        </p15:guide>
        <p15:guide id="13" orient="horz" pos="2454" userDrawn="1">
          <p15:clr>
            <a:srgbClr val="547EBF"/>
          </p15:clr>
        </p15:guide>
        <p15:guide id="14" pos="413" userDrawn="1">
          <p15:clr>
            <a:srgbClr val="547EBF"/>
          </p15:clr>
        </p15:guide>
        <p15:guide id="15" pos="6092" userDrawn="1">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680824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525484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9662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70771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5539478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8882774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0326054"/>
      </p:ext>
    </p:extLst>
  </p:cSld>
  <p:clrMapOvr>
    <a:masterClrMapping/>
  </p:clrMapOvr>
  <p:extLst>
    <p:ext uri="{DCECCB84-F9BA-43D5-87BE-67443E8EF086}">
      <p15:sldGuideLst xmlns:p15="http://schemas.microsoft.com/office/powerpoint/2012/main">
        <p15:guide id="1" orient="horz" pos="880" userDrawn="1">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userDrawn="1">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2.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heme" Target="../theme/theme3.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44402230"/>
      </p:ext>
    </p:extLst>
  </p:cSld>
  <p:clrMap bg1="lt1" tx1="dk1" bg2="lt2" tx2="dk2" accent1="accent1" accent2="accent2" accent3="accent3" accent4="accent4" accent5="accent5" accent6="accent6" hlink="hlink" folHlink="folHlink"/>
  <p:sldLayoutIdLst>
    <p:sldLayoutId id="2147483743" r:id="rId1"/>
    <p:sldLayoutId id="2147483746" r:id="rId2"/>
    <p:sldLayoutId id="2147483744" r:id="rId3"/>
    <p:sldLayoutId id="2147483707" r:id="rId4"/>
    <p:sldLayoutId id="2147483708" r:id="rId5"/>
    <p:sldLayoutId id="2147483709" r:id="rId6"/>
    <p:sldLayoutId id="2147483710" r:id="rId7"/>
    <p:sldLayoutId id="2147483740" r:id="rId8"/>
    <p:sldLayoutId id="2147483711" r:id="rId9"/>
    <p:sldLayoutId id="2147483735" r:id="rId10"/>
    <p:sldLayoutId id="2147483741" r:id="rId11"/>
    <p:sldLayoutId id="2147483712" r:id="rId12"/>
    <p:sldLayoutId id="2147483742" r:id="rId13"/>
    <p:sldLayoutId id="2147483713" r:id="rId14"/>
    <p:sldLayoutId id="2147483714" r:id="rId15"/>
    <p:sldLayoutId id="2147483739" r:id="rId16"/>
    <p:sldLayoutId id="2147483738" r:id="rId17"/>
    <p:sldLayoutId id="2147483716" r:id="rId18"/>
    <p:sldLayoutId id="2147483747" r:id="rId19"/>
    <p:sldLayoutId id="2147483717" r:id="rId20"/>
    <p:sldLayoutId id="2147483745" r:id="rId21"/>
    <p:sldLayoutId id="2147483748" r:id="rId22"/>
    <p:sldLayoutId id="2147483718" r:id="rId23"/>
    <p:sldLayoutId id="2147483719" r:id="rId24"/>
    <p:sldLayoutId id="2147483720" r:id="rId25"/>
    <p:sldLayoutId id="2147483721" r:id="rId26"/>
    <p:sldLayoutId id="2147483722" r:id="rId27"/>
    <p:sldLayoutId id="2147483749" r:id="rId28"/>
    <p:sldLayoutId id="2147483723" r:id="rId29"/>
    <p:sldLayoutId id="2147483750" r:id="rId30"/>
    <p:sldLayoutId id="2147483724" r:id="rId31"/>
    <p:sldLayoutId id="2147483751" r:id="rId32"/>
    <p:sldLayoutId id="2147483736" r:id="rId33"/>
    <p:sldLayoutId id="2147483752" r:id="rId34"/>
    <p:sldLayoutId id="2147483726" r:id="rId35"/>
    <p:sldLayoutId id="2147483737" r:id="rId36"/>
    <p:sldLayoutId id="2147483727" r:id="rId37"/>
    <p:sldLayoutId id="2147483728" r:id="rId38"/>
    <p:sldLayoutId id="2147483753" r:id="rId39"/>
    <p:sldLayoutId id="2147483729" r:id="rId40"/>
    <p:sldLayoutId id="2147483730" r:id="rId41"/>
    <p:sldLayoutId id="2147483731" r:id="rId42"/>
    <p:sldLayoutId id="2147483732" r:id="rId43"/>
    <p:sldLayoutId id="214748373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userDrawn="1">
          <p15:clr>
            <a:srgbClr val="A4A3A4"/>
          </p15:clr>
        </p15:guide>
        <p15:guide id="2" pos="192" userDrawn="1">
          <p15:clr>
            <a:srgbClr val="A4A3A4"/>
          </p15:clr>
        </p15:guide>
        <p15:guide id="3" orient="horz" pos="384" userDrawn="1">
          <p15:clr>
            <a:srgbClr val="F26B43"/>
          </p15:clr>
        </p15:guide>
        <p15:guide id="5" orient="horz" pos="4128" userDrawn="1">
          <p15:clr>
            <a:srgbClr val="A4A3A4"/>
          </p15:clr>
        </p15:guide>
        <p15:guide id="6" orient="horz" pos="3936" userDrawn="1">
          <p15:clr>
            <a:srgbClr val="F26B43"/>
          </p15:clr>
        </p15:guide>
        <p15:guide id="7" pos="7296" userDrawn="1">
          <p15:clr>
            <a:srgbClr val="F26B43"/>
          </p15:clr>
        </p15:guide>
        <p15:guide id="8" pos="7488" userDrawn="1">
          <p15:clr>
            <a:srgbClr val="A4A3A4"/>
          </p15:clr>
        </p15:guide>
        <p15:guide id="9"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2"/>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6C770997-4A99-4043-97DC-DA94969F2B06}"/>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115641875"/>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Lst>
  <p:hf hdr="0" ftr="0" dt="0"/>
  <p:txStyles>
    <p:titleStyle>
      <a:lvl1pPr marL="0" marR="0" indent="0" algn="l" defTabSz="457025"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rgbClr val="424CA0"/>
          </a:solidFill>
          <a:effectLst/>
          <a:uLnTx/>
          <a:uFillTx/>
          <a:latin typeface="+mj-lt"/>
          <a:ea typeface="+mj-ea"/>
          <a:cs typeface="Segoe UI Light"/>
        </a:defRPr>
      </a:lvl1pPr>
    </p:titleStyle>
    <p:bodyStyle>
      <a:lvl1pPr marL="0" indent="0" algn="l" defTabSz="914049" rtl="0" eaLnBrk="1" latinLnBrk="0" hangingPunct="1">
        <a:spcBef>
          <a:spcPct val="20000"/>
        </a:spcBef>
        <a:buFont typeface="Arial"/>
        <a:buNone/>
        <a:defRPr sz="2400" kern="1200">
          <a:solidFill>
            <a:srgbClr val="404040"/>
          </a:solidFill>
          <a:latin typeface="+mn-lt"/>
          <a:ea typeface="+mn-ea"/>
          <a:cs typeface="+mn-cs"/>
        </a:defRPr>
      </a:lvl1pPr>
      <a:lvl2pPr marL="342768" indent="-342768" algn="l" defTabSz="914049"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7930"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1984" indent="-342768" algn="l" defTabSz="914049"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581" indent="-342768" algn="l" defTabSz="914049"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3635"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59"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83"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07" indent="-228512" algn="l" defTabSz="9140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102544178"/>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5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Layout" Target="../slideLayouts/slideLayout5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0.xml"/><Relationship Id="rId1" Type="http://schemas.openxmlformats.org/officeDocument/2006/relationships/tags" Target="../tags/tag7.xml"/><Relationship Id="rId4" Type="http://schemas.openxmlformats.org/officeDocument/2006/relationships/image" Target="../media/image14.jpeg"/></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5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gif"/><Relationship Id="rId1" Type="http://schemas.openxmlformats.org/officeDocument/2006/relationships/slideLayout" Target="../slideLayouts/slideLayout5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3.xml"/><Relationship Id="rId5" Type="http://schemas.openxmlformats.org/officeDocument/2006/relationships/image" Target="../media/image21.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0.xml"/><Relationship Id="rId1" Type="http://schemas.openxmlformats.org/officeDocument/2006/relationships/tags" Target="../tags/tag8.xml"/><Relationship Id="rId4" Type="http://schemas.openxmlformats.org/officeDocument/2006/relationships/image" Target="../media/image14.jpe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4.jpeg"/><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8.png"/><Relationship Id="rId2" Type="http://schemas.openxmlformats.org/officeDocument/2006/relationships/customXml" Target="../../customXml/item6.xml"/><Relationship Id="rId1" Type="http://schemas.openxmlformats.org/officeDocument/2006/relationships/tags" Target="../tags/tag11.xml"/><Relationship Id="rId6" Type="http://schemas.openxmlformats.org/officeDocument/2006/relationships/notesSlide" Target="../notesSlides/notesSlide20.xml"/><Relationship Id="rId5" Type="http://schemas.openxmlformats.org/officeDocument/2006/relationships/slideLayout" Target="../slideLayouts/slideLayout9.xml"/><Relationship Id="rId4" Type="http://schemas.openxmlformats.org/officeDocument/2006/relationships/tags" Target="../tags/tag1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9.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customXml" Target="../../customXml/item1.xml"/><Relationship Id="rId7" Type="http://schemas.openxmlformats.org/officeDocument/2006/relationships/image" Target="../media/image8.png"/><Relationship Id="rId2" Type="http://schemas.openxmlformats.org/officeDocument/2006/relationships/customXml" Target="../../customXml/item4.xml"/><Relationship Id="rId1" Type="http://schemas.openxmlformats.org/officeDocument/2006/relationships/tags" Target="../tags/tag13.xml"/><Relationship Id="rId6" Type="http://schemas.openxmlformats.org/officeDocument/2006/relationships/notesSlide" Target="../notesSlides/notesSlide26.xml"/><Relationship Id="rId5" Type="http://schemas.openxmlformats.org/officeDocument/2006/relationships/slideLayout" Target="../slideLayouts/slideLayout9.xml"/><Relationship Id="rId4" Type="http://schemas.openxmlformats.org/officeDocument/2006/relationships/tags" Target="../tags/tag14.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diagramColors" Target="../diagrams/colors15.xml"/><Relationship Id="rId11" Type="http://schemas.openxmlformats.org/officeDocument/2006/relationships/image" Target="../media/image28.svg"/><Relationship Id="rId5" Type="http://schemas.openxmlformats.org/officeDocument/2006/relationships/diagramQuickStyle" Target="../diagrams/quickStyle15.xml"/><Relationship Id="rId10" Type="http://schemas.openxmlformats.org/officeDocument/2006/relationships/image" Target="../media/image27.png"/><Relationship Id="rId4" Type="http://schemas.openxmlformats.org/officeDocument/2006/relationships/diagramLayout" Target="../diagrams/layout15.xml"/><Relationship Id="rId9" Type="http://schemas.openxmlformats.org/officeDocument/2006/relationships/image" Target="../media/image26.svg"/></Relationships>
</file>

<file path=ppt/slides/_rels/slide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8.png"/><Relationship Id="rId2" Type="http://schemas.openxmlformats.org/officeDocument/2006/relationships/customXml" Target="../../customXml/item12.xml"/><Relationship Id="rId1" Type="http://schemas.openxmlformats.org/officeDocument/2006/relationships/tags" Target="../tags/tag5.xml"/><Relationship Id="rId6" Type="http://schemas.openxmlformats.org/officeDocument/2006/relationships/notesSlide" Target="../notesSlides/notesSlide4.xml"/><Relationship Id="rId5" Type="http://schemas.openxmlformats.org/officeDocument/2006/relationships/slideLayout" Target="../slideLayouts/slideLayout9.xml"/><Relationship Id="rId4" Type="http://schemas.openxmlformats.org/officeDocument/2006/relationships/tags" Target="../tags/tag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4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7.xml"/><Relationship Id="rId1" Type="http://schemas.openxmlformats.org/officeDocument/2006/relationships/slideLayout" Target="../slideLayouts/slideLayout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8.xml"/><Relationship Id="rId1" Type="http://schemas.openxmlformats.org/officeDocument/2006/relationships/slideLayout" Target="../slideLayouts/slideLayout9.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 Id="rId9" Type="http://schemas.openxmlformats.org/officeDocument/2006/relationships/image" Target="../media/image32.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0.xml"/><Relationship Id="rId1" Type="http://schemas.openxmlformats.org/officeDocument/2006/relationships/tags" Target="../tags/tag15.xml"/><Relationship Id="rId4" Type="http://schemas.openxmlformats.org/officeDocument/2006/relationships/image" Target="../media/image14.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8.png"/><Relationship Id="rId2" Type="http://schemas.openxmlformats.org/officeDocument/2006/relationships/customXml" Target="../../customXml/item14.xml"/><Relationship Id="rId1" Type="http://schemas.openxmlformats.org/officeDocument/2006/relationships/tags" Target="../tags/tag16.xml"/><Relationship Id="rId6" Type="http://schemas.openxmlformats.org/officeDocument/2006/relationships/notesSlide" Target="../notesSlides/notesSlide40.xml"/><Relationship Id="rId5" Type="http://schemas.openxmlformats.org/officeDocument/2006/relationships/slideLayout" Target="../slideLayouts/slideLayout9.xml"/><Relationship Id="rId4" Type="http://schemas.openxmlformats.org/officeDocument/2006/relationships/tags" Target="../tags/tag17.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41.xml"/><Relationship Id="rId1" Type="http://schemas.openxmlformats.org/officeDocument/2006/relationships/slideLayout" Target="../slideLayouts/slideLayout9.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42.xml"/><Relationship Id="rId1" Type="http://schemas.openxmlformats.org/officeDocument/2006/relationships/slideLayout" Target="../slideLayouts/slideLayout9.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44.xml"/><Relationship Id="rId1" Type="http://schemas.openxmlformats.org/officeDocument/2006/relationships/slideLayout" Target="../slideLayouts/slideLayout9.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45.xml"/><Relationship Id="rId1" Type="http://schemas.openxmlformats.org/officeDocument/2006/relationships/slideLayout" Target="../slideLayouts/slideLayout9.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0.xml"/><Relationship Id="rId1" Type="http://schemas.openxmlformats.org/officeDocument/2006/relationships/tags" Target="../tags/tag18.xml"/><Relationship Id="rId4" Type="http://schemas.openxmlformats.org/officeDocument/2006/relationships/image" Target="../media/image14.jpeg"/></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4.jpeg"/><Relationship Id="rId4" Type="http://schemas.openxmlformats.org/officeDocument/2006/relationships/notesSlide" Target="../notesSlides/notesSlide4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Indexes and Statistics</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4</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a:prstGeom prst="rect">
            <a:avLst/>
          </a:prstGeom>
          <a:ln>
            <a:noFill/>
          </a:ln>
        </p:spPr>
        <p:txBody>
          <a:bodyPr wrap="square" anchor="t">
            <a:normAutofit/>
          </a:bodyPr>
          <a:lstStyle/>
          <a:p>
            <a:r>
              <a:rPr lang="en-US" dirty="0"/>
              <a:t>Heap Structur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xfrm>
            <a:off x="655637" y="786383"/>
            <a:ext cx="10880725" cy="461665"/>
          </a:xfrm>
          <a:prstGeom prst="rect">
            <a:avLst/>
          </a:prstGeom>
        </p:spPr>
        <p:txBody>
          <a:bodyPr>
            <a:normAutofit/>
          </a:bodyPr>
          <a:lstStyle/>
          <a:p>
            <a:r>
              <a:rPr lang="en-US"/>
              <a:t>Heaps have one row in </a:t>
            </a:r>
            <a:r>
              <a:rPr lang="en-US">
                <a:solidFill>
                  <a:srgbClr val="107C10"/>
                </a:solidFill>
              </a:rPr>
              <a:t>sys</a:t>
            </a:r>
            <a:r>
              <a:rPr lang="en-US"/>
              <a:t>.</a:t>
            </a:r>
            <a:r>
              <a:rPr lang="en-US">
                <a:solidFill>
                  <a:srgbClr val="107C10"/>
                </a:solidFill>
              </a:rPr>
              <a:t>partitions</a:t>
            </a:r>
            <a:r>
              <a:rPr lang="en-US"/>
              <a:t>, with index_id = 0 for each partition used by the heap</a:t>
            </a:r>
          </a:p>
        </p:txBody>
      </p:sp>
      <p:pic>
        <p:nvPicPr>
          <p:cNvPr id="9" name="Content Placeholder 8">
            <a:extLst>
              <a:ext uri="{FF2B5EF4-FFF2-40B4-BE49-F238E27FC236}">
                <a16:creationId xmlns:a16="http://schemas.microsoft.com/office/drawing/2014/main" id="{C7689798-9D65-4F55-8F33-30A720234451}"/>
              </a:ext>
            </a:extLst>
          </p:cNvPr>
          <p:cNvPicPr>
            <a:picLocks noGrp="1" noChangeAspect="1"/>
          </p:cNvPicPr>
          <p:nvPr>
            <p:ph type="pic" sz="quarter" idx="22"/>
          </p:nvPr>
        </p:nvPicPr>
        <p:blipFill rotWithShape="1">
          <a:blip r:embed="rId3"/>
          <a:srcRect t="5467" r="-3" b="13399"/>
          <a:stretch/>
        </p:blipFill>
        <p:spPr>
          <a:xfrm>
            <a:off x="655638" y="2025650"/>
            <a:ext cx="5295900" cy="3424238"/>
          </a:xfrm>
          <a:prstGeom prst="rect">
            <a:avLst/>
          </a:prstGeom>
          <a:noFill/>
        </p:spPr>
      </p:pic>
      <p:pic>
        <p:nvPicPr>
          <p:cNvPr id="5" name="Picture 4">
            <a:extLst>
              <a:ext uri="{FF2B5EF4-FFF2-40B4-BE49-F238E27FC236}">
                <a16:creationId xmlns:a16="http://schemas.microsoft.com/office/drawing/2014/main" id="{CA9BE8B1-2103-462D-9304-31D76C834B7F}"/>
              </a:ext>
            </a:extLst>
          </p:cNvPr>
          <p:cNvPicPr>
            <a:picLocks noChangeAspect="1"/>
          </p:cNvPicPr>
          <p:nvPr/>
        </p:nvPicPr>
        <p:blipFill rotWithShape="1">
          <a:blip r:embed="rId4"/>
          <a:srcRect r="2" b="8288"/>
          <a:stretch/>
        </p:blipFill>
        <p:spPr>
          <a:xfrm>
            <a:off x="6705853" y="2336418"/>
            <a:ext cx="4815269" cy="3113470"/>
          </a:xfrm>
          <a:prstGeom prst="rect">
            <a:avLst/>
          </a:prstGeom>
          <a:noFill/>
        </p:spPr>
      </p:pic>
    </p:spTree>
    <p:extLst>
      <p:ext uri="{BB962C8B-B14F-4D97-AF65-F5344CB8AC3E}">
        <p14:creationId xmlns:p14="http://schemas.microsoft.com/office/powerpoint/2010/main" val="23904243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B3909D50-ACB2-47A5-A429-0624B0D4F7F5}"/>
              </a:ext>
            </a:extLst>
          </p:cNvPr>
          <p:cNvGraphicFramePr/>
          <p:nvPr>
            <p:extLst>
              <p:ext uri="{D42A27DB-BD31-4B8C-83A1-F6EECF244321}">
                <p14:modId xmlns:p14="http://schemas.microsoft.com/office/powerpoint/2010/main" val="38167684"/>
              </p:ext>
            </p:extLst>
          </p:nvPr>
        </p:nvGraphicFramePr>
        <p:xfrm>
          <a:off x="269239" y="1189495"/>
          <a:ext cx="11653523" cy="40733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sz="3200" dirty="0">
                <a:solidFill>
                  <a:srgbClr val="44546A"/>
                </a:solidFill>
                <a:latin typeface="Segoe UI Semibold" panose="020B0702040204020203" pitchFamily="34" charset="0"/>
              </a:rPr>
              <a:t>Clustered</a:t>
            </a:r>
            <a:r>
              <a:rPr lang="en-US" sz="3200" dirty="0">
                <a:gradFill flip="none" rotWithShape="1">
                  <a:gsLst>
                    <a:gs pos="1250">
                      <a:schemeClr val="tx1"/>
                    </a:gs>
                    <a:gs pos="100000">
                      <a:schemeClr val="tx1"/>
                    </a:gs>
                  </a:gsLst>
                  <a:lin ang="5400000" scaled="0"/>
                  <a:tileRect/>
                </a:gradFill>
                <a:latin typeface="Segoe UI Semibold" panose="020B0702040204020203" pitchFamily="34" charset="0"/>
              </a:rPr>
              <a:t> </a:t>
            </a:r>
            <a:r>
              <a:rPr lang="en-US" sz="3200" dirty="0">
                <a:solidFill>
                  <a:srgbClr val="44546A"/>
                </a:solidFill>
                <a:latin typeface="Segoe UI Semibold" panose="020B0702040204020203" pitchFamily="34" charset="0"/>
              </a:rPr>
              <a:t>Indexes</a:t>
            </a:r>
          </a:p>
        </p:txBody>
      </p:sp>
    </p:spTree>
    <p:extLst>
      <p:ext uri="{BB962C8B-B14F-4D97-AF65-F5344CB8AC3E}">
        <p14:creationId xmlns:p14="http://schemas.microsoft.com/office/powerpoint/2010/main" val="260539558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244F0C0-800C-4CF4-B37B-B6BE787F6327}"/>
              </a:ext>
            </a:extLst>
          </p:cNvPr>
          <p:cNvPicPr>
            <a:picLocks/>
          </p:cNvPicPr>
          <p:nvPr/>
        </p:nvPicPr>
        <p:blipFill>
          <a:blip r:embed="rId2"/>
          <a:stretch>
            <a:fillRect/>
          </a:stretch>
        </p:blipFill>
        <p:spPr>
          <a:xfrm>
            <a:off x="2872135" y="818311"/>
            <a:ext cx="7708392" cy="5698009"/>
          </a:xfrm>
          <a:prstGeom prst="rect">
            <a:avLst/>
          </a:prstGeom>
        </p:spPr>
      </p:pic>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Clustered Index Structure</a:t>
            </a:r>
          </a:p>
        </p:txBody>
      </p:sp>
      <p:sp>
        <p:nvSpPr>
          <p:cNvPr id="7" name="Rectangle 6">
            <a:extLst>
              <a:ext uri="{FF2B5EF4-FFF2-40B4-BE49-F238E27FC236}">
                <a16:creationId xmlns:a16="http://schemas.microsoft.com/office/drawing/2014/main" id="{0D9C03E4-2EF0-4C26-AD8F-E84CBE562A02}"/>
              </a:ext>
            </a:extLst>
          </p:cNvPr>
          <p:cNvSpPr/>
          <p:nvPr/>
        </p:nvSpPr>
        <p:spPr bwMode="auto">
          <a:xfrm>
            <a:off x="2714889" y="4740258"/>
            <a:ext cx="7956459"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657489" y="2940645"/>
            <a:ext cx="2057400" cy="1229490"/>
          </a:xfrm>
          <a:prstGeom prst="wedgeRoundRectCallout">
            <a:avLst>
              <a:gd name="adj1" fmla="val 60915"/>
              <a:gd name="adj2" fmla="val 112165"/>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eaf Node Contains Data Pages</a:t>
            </a:r>
          </a:p>
        </p:txBody>
      </p:sp>
    </p:spTree>
    <p:extLst>
      <p:ext uri="{BB962C8B-B14F-4D97-AF65-F5344CB8AC3E}">
        <p14:creationId xmlns:p14="http://schemas.microsoft.com/office/powerpoint/2010/main" val="3393039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Examining index metadata</a:t>
            </a:r>
            <a:br>
              <a:rPr lang="en-US" b="1"/>
            </a:br>
            <a:r>
              <a:rPr lang="en-US" b="1"/>
              <a:t>and Building a B-Tree</a:t>
            </a:r>
          </a:p>
          <a:p>
            <a:pPr marL="342900" indent="-342900">
              <a:buFont typeface="Arial" panose="020B0604020202020204" pitchFamily="34" charset="0"/>
              <a:buChar char="•"/>
            </a:pPr>
            <a:r>
              <a:rPr lang="en-US" sz="2000"/>
              <a:t>This demonstration reviews index, partition, and allocation unit metadata.</a:t>
            </a:r>
          </a:p>
          <a:p>
            <a:pPr marL="342900" indent="-342900">
              <a:buFont typeface="Arial" panose="020B0604020202020204" pitchFamily="34" charset="0"/>
              <a:buChar char="•"/>
            </a:pPr>
            <a:r>
              <a:rPr lang="en-US" sz="2000"/>
              <a:t>Show how a B-Tree begins to form as rows are added to a table.</a:t>
            </a:r>
          </a:p>
          <a:p>
            <a:endParaRPr lang="en-US"/>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267675391"/>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B3909D50-ACB2-47A5-A429-0624B0D4F7F5}"/>
              </a:ext>
            </a:extLst>
          </p:cNvPr>
          <p:cNvGraphicFramePr/>
          <p:nvPr>
            <p:extLst>
              <p:ext uri="{D42A27DB-BD31-4B8C-83A1-F6EECF244321}">
                <p14:modId xmlns:p14="http://schemas.microsoft.com/office/powerpoint/2010/main" val="2178819707"/>
              </p:ext>
            </p:extLst>
          </p:nvPr>
        </p:nvGraphicFramePr>
        <p:xfrm>
          <a:off x="269239" y="1189495"/>
          <a:ext cx="11653523" cy="40733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sz="3200" dirty="0">
                <a:solidFill>
                  <a:srgbClr val="44546A"/>
                </a:solidFill>
                <a:latin typeface="Segoe UI Semibold" panose="020B0702040204020203" pitchFamily="34" charset="0"/>
              </a:rPr>
              <a:t>Non-Clustered</a:t>
            </a:r>
            <a:r>
              <a:rPr lang="en-US" sz="3200" dirty="0">
                <a:gradFill flip="none" rotWithShape="1">
                  <a:gsLst>
                    <a:gs pos="1250">
                      <a:schemeClr val="tx1"/>
                    </a:gs>
                    <a:gs pos="100000">
                      <a:schemeClr val="tx1"/>
                    </a:gs>
                  </a:gsLst>
                  <a:lin ang="5400000" scaled="0"/>
                  <a:tileRect/>
                </a:gradFill>
                <a:latin typeface="Segoe UI Semibold" panose="020B0702040204020203" pitchFamily="34" charset="0"/>
              </a:rPr>
              <a:t> </a:t>
            </a:r>
            <a:r>
              <a:rPr lang="en-US" sz="3200" dirty="0">
                <a:solidFill>
                  <a:srgbClr val="44546A"/>
                </a:solidFill>
                <a:latin typeface="Segoe UI Semibold" panose="020B0702040204020203" pitchFamily="34" charset="0"/>
              </a:rPr>
              <a:t>Indexes</a:t>
            </a:r>
          </a:p>
        </p:txBody>
      </p:sp>
      <p:graphicFrame>
        <p:nvGraphicFramePr>
          <p:cNvPr id="3" name="Diagram 2">
            <a:extLst>
              <a:ext uri="{FF2B5EF4-FFF2-40B4-BE49-F238E27FC236}">
                <a16:creationId xmlns:a16="http://schemas.microsoft.com/office/drawing/2014/main" id="{F9DF2724-B7D1-4FAD-9393-A5E7D8A68177}"/>
              </a:ext>
            </a:extLst>
          </p:cNvPr>
          <p:cNvGraphicFramePr/>
          <p:nvPr>
            <p:extLst>
              <p:ext uri="{D42A27DB-BD31-4B8C-83A1-F6EECF244321}">
                <p14:modId xmlns:p14="http://schemas.microsoft.com/office/powerpoint/2010/main" val="389343836"/>
              </p:ext>
            </p:extLst>
          </p:nvPr>
        </p:nvGraphicFramePr>
        <p:xfrm>
          <a:off x="361644" y="1189176"/>
          <a:ext cx="11655841" cy="51335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23046453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3FB77CC-0D57-4C87-BEEB-C19D6C29A551}"/>
              </a:ext>
            </a:extLst>
          </p:cNvPr>
          <p:cNvSpPr>
            <a:spLocks noGrp="1"/>
          </p:cNvSpPr>
          <p:nvPr>
            <p:ph type="title"/>
          </p:nvPr>
        </p:nvSpPr>
        <p:spPr>
          <a:xfrm>
            <a:off x="386184" y="170840"/>
            <a:ext cx="10880725" cy="461665"/>
          </a:xfrm>
          <a:prstGeom prst="rect">
            <a:avLst/>
          </a:prstGeom>
          <a:ln>
            <a:noFill/>
          </a:ln>
        </p:spPr>
        <p:txBody>
          <a:bodyPr wrap="square" anchor="t">
            <a:noAutofit/>
          </a:bodyPr>
          <a:lstStyle/>
          <a:p>
            <a:r>
              <a:rPr lang="en-US" sz="3200" dirty="0">
                <a:gradFill flip="none" rotWithShape="1">
                  <a:gsLst>
                    <a:gs pos="1250">
                      <a:srgbClr val="44546A"/>
                    </a:gs>
                    <a:gs pos="100000">
                      <a:schemeClr val="tx1"/>
                    </a:gs>
                  </a:gsLst>
                  <a:lin ang="5400000" scaled="0"/>
                  <a:tileRect/>
                </a:gradFill>
                <a:latin typeface="Segoe UI Semibold" panose="020B0702040204020203" pitchFamily="34" charset="0"/>
              </a:rPr>
              <a:t>Non-Clustered Index Structure</a:t>
            </a:r>
          </a:p>
        </p:txBody>
      </p:sp>
      <p:pic>
        <p:nvPicPr>
          <p:cNvPr id="2" name="Picture 1">
            <a:extLst>
              <a:ext uri="{FF2B5EF4-FFF2-40B4-BE49-F238E27FC236}">
                <a16:creationId xmlns:a16="http://schemas.microsoft.com/office/drawing/2014/main" id="{7A523028-BB65-4A28-9C15-20C240F83C28}"/>
              </a:ext>
            </a:extLst>
          </p:cNvPr>
          <p:cNvPicPr>
            <a:picLocks/>
          </p:cNvPicPr>
          <p:nvPr/>
        </p:nvPicPr>
        <p:blipFill>
          <a:blip r:embed="rId2"/>
          <a:stretch>
            <a:fillRect/>
          </a:stretch>
        </p:blipFill>
        <p:spPr>
          <a:xfrm>
            <a:off x="3558517" y="861087"/>
            <a:ext cx="7708392" cy="5735638"/>
          </a:xfrm>
          <a:prstGeom prst="rect">
            <a:avLst/>
          </a:prstGeom>
        </p:spPr>
      </p:pic>
      <p:sp>
        <p:nvSpPr>
          <p:cNvPr id="7" name="Rectangle 6">
            <a:extLst>
              <a:ext uri="{FF2B5EF4-FFF2-40B4-BE49-F238E27FC236}">
                <a16:creationId xmlns:a16="http://schemas.microsoft.com/office/drawing/2014/main" id="{0D9C03E4-2EF0-4C26-AD8F-E84CBE562A02}"/>
              </a:ext>
            </a:extLst>
          </p:cNvPr>
          <p:cNvSpPr/>
          <p:nvPr/>
        </p:nvSpPr>
        <p:spPr bwMode="auto">
          <a:xfrm>
            <a:off x="3416440" y="2960742"/>
            <a:ext cx="6501283" cy="1946902"/>
          </a:xfrm>
          <a:prstGeom prst="rect">
            <a:avLst/>
          </a:prstGeom>
          <a:solidFill>
            <a:schemeClr val="tx2">
              <a:lumMod val="40000"/>
              <a:lumOff val="60000"/>
              <a:alpha val="19000"/>
            </a:schemeClr>
          </a:solidFill>
          <a:ln w="412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Speech Bubble: Rectangle with Corners Rounded 10">
            <a:extLst>
              <a:ext uri="{FF2B5EF4-FFF2-40B4-BE49-F238E27FC236}">
                <a16:creationId xmlns:a16="http://schemas.microsoft.com/office/drawing/2014/main" id="{8F02C398-A786-4A99-ABBA-416321573C88}"/>
              </a:ext>
            </a:extLst>
          </p:cNvPr>
          <p:cNvSpPr/>
          <p:nvPr/>
        </p:nvSpPr>
        <p:spPr bwMode="auto">
          <a:xfrm>
            <a:off x="807418" y="4907644"/>
            <a:ext cx="2057400" cy="1590801"/>
          </a:xfrm>
          <a:prstGeom prst="wedgeRoundRectCallout">
            <a:avLst>
              <a:gd name="adj1" fmla="val 88754"/>
              <a:gd name="adj2" fmla="val 4171"/>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Base Table (Heap or Clustered Index</a:t>
            </a:r>
          </a:p>
        </p:txBody>
      </p:sp>
      <p:sp>
        <p:nvSpPr>
          <p:cNvPr id="9" name="Speech Bubble: Rectangle with Corners Rounded 8">
            <a:extLst>
              <a:ext uri="{FF2B5EF4-FFF2-40B4-BE49-F238E27FC236}">
                <a16:creationId xmlns:a16="http://schemas.microsoft.com/office/drawing/2014/main" id="{CE8E84EC-8D10-4B3B-BD44-CD19D440CDE6}"/>
              </a:ext>
            </a:extLst>
          </p:cNvPr>
          <p:cNvSpPr/>
          <p:nvPr/>
        </p:nvSpPr>
        <p:spPr bwMode="auto">
          <a:xfrm>
            <a:off x="901358" y="1509197"/>
            <a:ext cx="2057400" cy="1229490"/>
          </a:xfrm>
          <a:prstGeom prst="wedgeRoundRectCallout">
            <a:avLst>
              <a:gd name="adj1" fmla="val 60915"/>
              <a:gd name="adj2" fmla="val 112165"/>
              <a:gd name="adj3" fmla="val 1666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eaf Node has Pointers to Base Table</a:t>
            </a:r>
          </a:p>
        </p:txBody>
      </p:sp>
      <p:pic>
        <p:nvPicPr>
          <p:cNvPr id="10" name="Picture 9">
            <a:extLst>
              <a:ext uri="{FF2B5EF4-FFF2-40B4-BE49-F238E27FC236}">
                <a16:creationId xmlns:a16="http://schemas.microsoft.com/office/drawing/2014/main" id="{78BC7ED4-ABD6-4CEC-8430-B09329190721}"/>
              </a:ext>
            </a:extLst>
          </p:cNvPr>
          <p:cNvPicPr>
            <a:picLocks noChangeAspect="1"/>
          </p:cNvPicPr>
          <p:nvPr/>
        </p:nvPicPr>
        <p:blipFill>
          <a:blip r:embed="rId3"/>
          <a:stretch>
            <a:fillRect/>
          </a:stretch>
        </p:blipFill>
        <p:spPr>
          <a:xfrm>
            <a:off x="4073015" y="749331"/>
            <a:ext cx="3859598" cy="485143"/>
          </a:xfrm>
          <a:prstGeom prst="rect">
            <a:avLst/>
          </a:prstGeom>
        </p:spPr>
      </p:pic>
    </p:spTree>
    <p:extLst>
      <p:ext uri="{BB962C8B-B14F-4D97-AF65-F5344CB8AC3E}">
        <p14:creationId xmlns:p14="http://schemas.microsoft.com/office/powerpoint/2010/main" val="3750919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a:prstGeom prst="rect">
            <a:avLst/>
          </a:prstGeom>
          <a:solidFill>
            <a:schemeClr val="bg1"/>
          </a:solidFill>
          <a:ln>
            <a:noFill/>
          </a:ln>
        </p:spPr>
        <p:txBody>
          <a:bodyPr wrap="square" anchor="t">
            <a:normAutofit/>
          </a:bodyPr>
          <a:lstStyle/>
          <a:p>
            <a:r>
              <a:rPr lang="en-US" dirty="0"/>
              <a:t>Clustered vs Nonclustered Index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xfrm>
            <a:off x="655637" y="786383"/>
            <a:ext cx="10880725" cy="461665"/>
          </a:xfrm>
          <a:prstGeom prst="rect">
            <a:avLst/>
          </a:prstGeom>
        </p:spPr>
        <p:txBody>
          <a:bodyPr>
            <a:normAutofit/>
          </a:bodyPr>
          <a:lstStyle/>
          <a:p>
            <a:r>
              <a:rPr lang="en-US"/>
              <a:t>An index is an on-disk structure associated with a table or view that speeds retrieval of rows.</a:t>
            </a:r>
          </a:p>
        </p:txBody>
      </p:sp>
      <p:graphicFrame>
        <p:nvGraphicFramePr>
          <p:cNvPr id="7" name="Content Placeholder 3">
            <a:extLst>
              <a:ext uri="{FF2B5EF4-FFF2-40B4-BE49-F238E27FC236}">
                <a16:creationId xmlns:a16="http://schemas.microsoft.com/office/drawing/2014/main" id="{CF7C7A3B-A65D-40B2-92A1-6E44F518C1B2}"/>
              </a:ext>
            </a:extLst>
          </p:cNvPr>
          <p:cNvGraphicFramePr>
            <a:graphicFrameLocks noGrp="1"/>
          </p:cNvGraphicFramePr>
          <p:nvPr>
            <p:ph sz="quarter" idx="13"/>
            <p:extLst>
              <p:ext uri="{D42A27DB-BD31-4B8C-83A1-F6EECF244321}">
                <p14:modId xmlns:p14="http://schemas.microsoft.com/office/powerpoint/2010/main" val="3616017087"/>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22934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655638" y="320040"/>
            <a:ext cx="10880725" cy="461665"/>
          </a:xfrm>
          <a:prstGeom prst="rect">
            <a:avLst/>
          </a:prstGeom>
          <a:ln>
            <a:noFill/>
          </a:ln>
        </p:spPr>
        <p:txBody>
          <a:bodyPr wrap="square" anchor="t">
            <a:normAutofit/>
          </a:bodyPr>
          <a:lstStyle/>
          <a:p>
            <a:r>
              <a:rPr lang="en-US" dirty="0"/>
              <a:t>Bookmark Lookup or RID lookup </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a:xfrm>
            <a:off x="655637" y="786383"/>
            <a:ext cx="10880725" cy="461665"/>
          </a:xfrm>
          <a:prstGeom prst="rect">
            <a:avLst/>
          </a:prstGeom>
        </p:spPr>
        <p:txBody>
          <a:bodyPr>
            <a:normAutofit/>
          </a:bodyPr>
          <a:lstStyle/>
          <a:p>
            <a:pPr>
              <a:lnSpc>
                <a:spcPct val="90000"/>
              </a:lnSpc>
            </a:pPr>
            <a:r>
              <a:rPr lang="en-US" sz="1600" dirty="0"/>
              <a:t>Occurs when SQL uses a nonclustered index to satisfy all or some of a query’s predicates, but it doesn’t contain all the information needed to cover the query. </a:t>
            </a:r>
          </a:p>
        </p:txBody>
      </p:sp>
      <p:graphicFrame>
        <p:nvGraphicFramePr>
          <p:cNvPr id="6" name="Content Placeholder 5">
            <a:extLst>
              <a:ext uri="{FF2B5EF4-FFF2-40B4-BE49-F238E27FC236}">
                <a16:creationId xmlns:a16="http://schemas.microsoft.com/office/drawing/2014/main" id="{072122DA-A0C2-49BE-8963-1784B342297D}"/>
              </a:ext>
            </a:extLst>
          </p:cNvPr>
          <p:cNvGraphicFramePr>
            <a:graphicFrameLocks noGrp="1"/>
          </p:cNvGraphicFramePr>
          <p:nvPr>
            <p:ph sz="quarter" idx="13"/>
            <p:extLst>
              <p:ext uri="{D42A27DB-BD31-4B8C-83A1-F6EECF244321}">
                <p14:modId xmlns:p14="http://schemas.microsoft.com/office/powerpoint/2010/main" val="2208886114"/>
              </p:ext>
            </p:extLst>
          </p:nvPr>
        </p:nvGraphicFramePr>
        <p:xfrm>
          <a:off x="655638" y="1408113"/>
          <a:ext cx="5284787"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9C17F93E-6131-44F0-95E1-90672E5C6E58}"/>
              </a:ext>
            </a:extLst>
          </p:cNvPr>
          <p:cNvPicPr>
            <a:picLocks noChangeAspect="1"/>
          </p:cNvPicPr>
          <p:nvPr/>
        </p:nvPicPr>
        <p:blipFill>
          <a:blip r:embed="rId8"/>
          <a:stretch>
            <a:fillRect/>
          </a:stretch>
        </p:blipFill>
        <p:spPr>
          <a:xfrm>
            <a:off x="6096000" y="1600200"/>
            <a:ext cx="5211762" cy="2081021"/>
          </a:xfrm>
          <a:prstGeom prst="rect">
            <a:avLst/>
          </a:prstGeom>
        </p:spPr>
      </p:pic>
      <p:pic>
        <p:nvPicPr>
          <p:cNvPr id="11" name="Picture 10">
            <a:extLst>
              <a:ext uri="{FF2B5EF4-FFF2-40B4-BE49-F238E27FC236}">
                <a16:creationId xmlns:a16="http://schemas.microsoft.com/office/drawing/2014/main" id="{BF6803FB-64B5-490D-8B16-9BFEFEC01874}"/>
              </a:ext>
            </a:extLst>
          </p:cNvPr>
          <p:cNvPicPr>
            <a:picLocks noChangeAspect="1"/>
          </p:cNvPicPr>
          <p:nvPr/>
        </p:nvPicPr>
        <p:blipFill>
          <a:blip r:embed="rId9"/>
          <a:stretch>
            <a:fillRect/>
          </a:stretch>
        </p:blipFill>
        <p:spPr>
          <a:xfrm>
            <a:off x="6260052" y="4033373"/>
            <a:ext cx="5044396" cy="1912903"/>
          </a:xfrm>
          <a:prstGeom prst="rect">
            <a:avLst/>
          </a:prstGeom>
        </p:spPr>
      </p:pic>
    </p:spTree>
    <p:extLst>
      <p:ext uri="{BB962C8B-B14F-4D97-AF65-F5344CB8AC3E}">
        <p14:creationId xmlns:p14="http://schemas.microsoft.com/office/powerpoint/2010/main" val="42295133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Key Lookup </a:t>
            </a:r>
          </a:p>
        </p:txBody>
      </p:sp>
      <p:pic>
        <p:nvPicPr>
          <p:cNvPr id="12" name="Picture 11">
            <a:extLst>
              <a:ext uri="{FF2B5EF4-FFF2-40B4-BE49-F238E27FC236}">
                <a16:creationId xmlns:a16="http://schemas.microsoft.com/office/drawing/2014/main" id="{693BC432-4F38-472F-8BBB-BE6083371555}"/>
              </a:ext>
            </a:extLst>
          </p:cNvPr>
          <p:cNvPicPr>
            <a:picLocks noChangeAspect="1"/>
          </p:cNvPicPr>
          <p:nvPr/>
        </p:nvPicPr>
        <p:blipFill>
          <a:blip r:embed="rId3"/>
          <a:stretch>
            <a:fillRect/>
          </a:stretch>
        </p:blipFill>
        <p:spPr>
          <a:xfrm>
            <a:off x="465666" y="1132573"/>
            <a:ext cx="7750212" cy="4130398"/>
          </a:xfrm>
          <a:prstGeom prst="rect">
            <a:avLst/>
          </a:prstGeom>
          <a:ln>
            <a:noFill/>
          </a:ln>
          <a:effectLst>
            <a:outerShdw blurRad="190500" algn="tl" rotWithShape="0">
              <a:srgbClr val="000000">
                <a:alpha val="70000"/>
              </a:srgbClr>
            </a:outerShdw>
          </a:effectLst>
        </p:spPr>
      </p:pic>
      <p:pic>
        <p:nvPicPr>
          <p:cNvPr id="14" name="Picture 13">
            <a:extLst>
              <a:ext uri="{FF2B5EF4-FFF2-40B4-BE49-F238E27FC236}">
                <a16:creationId xmlns:a16="http://schemas.microsoft.com/office/drawing/2014/main" id="{4578A28C-83E9-4BDA-8959-D317CEC967F7}"/>
              </a:ext>
            </a:extLst>
          </p:cNvPr>
          <p:cNvPicPr>
            <a:picLocks noChangeAspect="1"/>
          </p:cNvPicPr>
          <p:nvPr/>
        </p:nvPicPr>
        <p:blipFill>
          <a:blip r:embed="rId4"/>
          <a:stretch>
            <a:fillRect/>
          </a:stretch>
        </p:blipFill>
        <p:spPr>
          <a:xfrm>
            <a:off x="7367446" y="1932141"/>
            <a:ext cx="4256372" cy="1194347"/>
          </a:xfrm>
          <a:prstGeom prst="rect">
            <a:avLst/>
          </a:prstGeom>
          <a:ln>
            <a:noFill/>
          </a:ln>
          <a:effectLst>
            <a:outerShdw blurRad="190500" algn="tl" rotWithShape="0">
              <a:srgbClr val="000000">
                <a:alpha val="70000"/>
              </a:srgbClr>
            </a:outerShdw>
          </a:effectLst>
        </p:spPr>
      </p:pic>
      <p:pic>
        <p:nvPicPr>
          <p:cNvPr id="16" name="Picture 15">
            <a:extLst>
              <a:ext uri="{FF2B5EF4-FFF2-40B4-BE49-F238E27FC236}">
                <a16:creationId xmlns:a16="http://schemas.microsoft.com/office/drawing/2014/main" id="{C1935265-B60C-47DD-ABDD-9FFBADDB8E6F}"/>
              </a:ext>
            </a:extLst>
          </p:cNvPr>
          <p:cNvPicPr>
            <a:picLocks noChangeAspect="1"/>
          </p:cNvPicPr>
          <p:nvPr/>
        </p:nvPicPr>
        <p:blipFill>
          <a:blip r:embed="rId5"/>
          <a:stretch>
            <a:fillRect/>
          </a:stretch>
        </p:blipFill>
        <p:spPr>
          <a:xfrm>
            <a:off x="7374510" y="3926056"/>
            <a:ext cx="4256372" cy="107578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986696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xfrm>
            <a:off x="465666" y="271124"/>
            <a:ext cx="10880725" cy="461665"/>
          </a:xfrm>
          <a:prstGeom prst="rect">
            <a:avLst/>
          </a:prstGeom>
          <a:ln>
            <a:noFill/>
          </a:ln>
        </p:spPr>
        <p:txBody>
          <a:bodyPr wrap="square" anchor="t">
            <a:normAutofit/>
          </a:bodyPr>
          <a:lstStyle/>
          <a:p>
            <a:r>
              <a:rPr lang="en-US" dirty="0"/>
              <a:t>Non-Clustered Index with Included Column </a:t>
            </a:r>
          </a:p>
        </p:txBody>
      </p:sp>
      <p:pic>
        <p:nvPicPr>
          <p:cNvPr id="4" name="Picture 3">
            <a:extLst>
              <a:ext uri="{FF2B5EF4-FFF2-40B4-BE49-F238E27FC236}">
                <a16:creationId xmlns:a16="http://schemas.microsoft.com/office/drawing/2014/main" id="{B7E6AB0D-006D-40C9-9D1A-75A5940C8BBC}"/>
              </a:ext>
            </a:extLst>
          </p:cNvPr>
          <p:cNvPicPr>
            <a:picLocks noChangeAspect="1"/>
          </p:cNvPicPr>
          <p:nvPr/>
        </p:nvPicPr>
        <p:blipFill>
          <a:blip r:embed="rId3"/>
          <a:stretch>
            <a:fillRect/>
          </a:stretch>
        </p:blipFill>
        <p:spPr>
          <a:xfrm>
            <a:off x="465666" y="1720204"/>
            <a:ext cx="7224942" cy="2211716"/>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CEF9F534-B150-4709-A76C-9D9CACD44535}"/>
              </a:ext>
            </a:extLst>
          </p:cNvPr>
          <p:cNvPicPr>
            <a:picLocks noChangeAspect="1"/>
          </p:cNvPicPr>
          <p:nvPr/>
        </p:nvPicPr>
        <p:blipFill>
          <a:blip r:embed="rId4"/>
          <a:stretch>
            <a:fillRect/>
          </a:stretch>
        </p:blipFill>
        <p:spPr>
          <a:xfrm>
            <a:off x="5120640" y="3283371"/>
            <a:ext cx="6823166" cy="218996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198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Index Internals </a:t>
            </a:r>
          </a:p>
          <a:p>
            <a:r>
              <a:rPr lang="en-US" dirty="0"/>
              <a:t>Lesson 2: Index Strategy</a:t>
            </a:r>
          </a:p>
          <a:p>
            <a:r>
              <a:rPr lang="en-US" dirty="0"/>
              <a:t>Lesson 3: Index Monitoring and Fragmentation</a:t>
            </a:r>
          </a:p>
        </p:txBody>
      </p:sp>
    </p:spTree>
    <p:extLst>
      <p:ext uri="{BB962C8B-B14F-4D97-AF65-F5344CB8AC3E}">
        <p14:creationId xmlns:p14="http://schemas.microsoft.com/office/powerpoint/2010/main" val="27077932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b="1">
              <a:solidFill>
                <a:srgbClr val="0078D4"/>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dirty="0"/>
              <a:t>Access Methods</a:t>
            </a:r>
          </a:p>
          <a:p>
            <a:r>
              <a:rPr lang="en-US" dirty="0"/>
              <a:t>Demonstrate nonclustered indexes with included columns</a:t>
            </a:r>
          </a:p>
          <a:p>
            <a:endParaRPr lang="en-US" dirty="0"/>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117416934"/>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80146838"/>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088562" cy="604798"/>
          </a:xfrm>
        </p:spPr>
        <p:txBody>
          <a:bodyPr/>
          <a:lstStyle/>
          <a:p>
            <a:r>
              <a:rPr lang="en-US" dirty="0"/>
              <a:t>Lesson 2: Index Strategy</a:t>
            </a:r>
          </a:p>
        </p:txBody>
      </p:sp>
    </p:spTree>
    <p:extLst>
      <p:ext uri="{BB962C8B-B14F-4D97-AF65-F5344CB8AC3E}">
        <p14:creationId xmlns:p14="http://schemas.microsoft.com/office/powerpoint/2010/main" val="2894004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Describe best practices associated with clustered index design.</a:t>
            </a:r>
          </a:p>
          <a:p>
            <a:r>
              <a:rPr lang="en-US" dirty="0"/>
              <a:t>Consider factors involved in designing a nonclustered indexing strategy.</a:t>
            </a:r>
          </a:p>
          <a:p>
            <a:r>
              <a:rPr lang="en-US" dirty="0"/>
              <a:t>Explain how an indexing strategy can reduce logical reads.</a:t>
            </a:r>
          </a:p>
          <a:p>
            <a:r>
              <a:rPr lang="en-US" dirty="0"/>
              <a:t>Describe use of Filter indexes and Indexed views.</a:t>
            </a:r>
          </a:p>
          <a:p>
            <a:r>
              <a:rPr lang="en-US" dirty="0"/>
              <a:t>Explain the role of Fill factor.</a:t>
            </a:r>
          </a:p>
          <a:p>
            <a:r>
              <a:rPr lang="en-US" dirty="0"/>
              <a:t>Use a technique to reduce the fragmentation.</a:t>
            </a:r>
          </a:p>
          <a:p>
            <a:r>
              <a:rPr lang="en-US" dirty="0"/>
              <a:t>Apply Index Compression.</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034824179"/>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1530D-2006-4450-8F92-3E1216E9B206}"/>
              </a:ext>
            </a:extLst>
          </p:cNvPr>
          <p:cNvSpPr>
            <a:spLocks noGrp="1"/>
          </p:cNvSpPr>
          <p:nvPr>
            <p:ph type="title"/>
          </p:nvPr>
        </p:nvSpPr>
        <p:spPr/>
        <p:txBody>
          <a:bodyPr/>
          <a:lstStyle/>
          <a:p>
            <a:r>
              <a:rPr lang="en-US" dirty="0"/>
              <a:t>Characteristics of a Good Clustering Key</a:t>
            </a:r>
          </a:p>
        </p:txBody>
      </p:sp>
      <p:graphicFrame>
        <p:nvGraphicFramePr>
          <p:cNvPr id="7" name="Diagram 6">
            <a:extLst>
              <a:ext uri="{FF2B5EF4-FFF2-40B4-BE49-F238E27FC236}">
                <a16:creationId xmlns:a16="http://schemas.microsoft.com/office/drawing/2014/main" id="{E6AB22AD-0705-4A95-903A-B4CDB0CA03E0}"/>
              </a:ext>
            </a:extLst>
          </p:cNvPr>
          <p:cNvGraphicFramePr/>
          <p:nvPr>
            <p:extLst>
              <p:ext uri="{D42A27DB-BD31-4B8C-83A1-F6EECF244321}">
                <p14:modId xmlns:p14="http://schemas.microsoft.com/office/powerpoint/2010/main" val="3267117255"/>
              </p:ext>
            </p:extLst>
          </p:nvPr>
        </p:nvGraphicFramePr>
        <p:xfrm>
          <a:off x="655638" y="1365935"/>
          <a:ext cx="11010498" cy="47535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597703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Best Practices for Clustered indexe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The primary goal of any indexing strategy is to make queries faster</a:t>
            </a:r>
          </a:p>
          <a:p>
            <a:endParaRPr lang="en-US"/>
          </a:p>
        </p:txBody>
      </p:sp>
      <p:graphicFrame>
        <p:nvGraphicFramePr>
          <p:cNvPr id="7" name="Content Placeholder 6">
            <a:extLst>
              <a:ext uri="{FF2B5EF4-FFF2-40B4-BE49-F238E27FC236}">
                <a16:creationId xmlns:a16="http://schemas.microsoft.com/office/drawing/2014/main" id="{FBCEAB35-8B70-4C96-9DA5-8813406D2B2C}"/>
              </a:ext>
            </a:extLst>
          </p:cNvPr>
          <p:cNvGraphicFramePr>
            <a:graphicFrameLocks noGrp="1"/>
          </p:cNvGraphicFramePr>
          <p:nvPr>
            <p:ph sz="quarter" idx="13"/>
            <p:extLst>
              <p:ext uri="{D42A27DB-BD31-4B8C-83A1-F6EECF244321}">
                <p14:modId xmlns:p14="http://schemas.microsoft.com/office/powerpoint/2010/main" val="1723122252"/>
              </p:ext>
            </p:extLst>
          </p:nvPr>
        </p:nvGraphicFramePr>
        <p:xfrm>
          <a:off x="522023" y="1433565"/>
          <a:ext cx="10880726" cy="4927041"/>
        </p:xfrm>
        <a:graphic>
          <a:graphicData uri="http://schemas.openxmlformats.org/drawingml/2006/table">
            <a:tbl>
              <a:tblPr/>
              <a:tblGrid>
                <a:gridCol w="3587753">
                  <a:extLst>
                    <a:ext uri="{9D8B030D-6E8A-4147-A177-3AD203B41FA5}">
                      <a16:colId xmlns:a16="http://schemas.microsoft.com/office/drawing/2014/main" val="1236326162"/>
                    </a:ext>
                  </a:extLst>
                </a:gridCol>
                <a:gridCol w="1382923">
                  <a:extLst>
                    <a:ext uri="{9D8B030D-6E8A-4147-A177-3AD203B41FA5}">
                      <a16:colId xmlns:a16="http://schemas.microsoft.com/office/drawing/2014/main" val="1030117984"/>
                    </a:ext>
                  </a:extLst>
                </a:gridCol>
                <a:gridCol w="1249745">
                  <a:extLst>
                    <a:ext uri="{9D8B030D-6E8A-4147-A177-3AD203B41FA5}">
                      <a16:colId xmlns:a16="http://schemas.microsoft.com/office/drawing/2014/main" val="3107741756"/>
                    </a:ext>
                  </a:extLst>
                </a:gridCol>
                <a:gridCol w="1477108">
                  <a:extLst>
                    <a:ext uri="{9D8B030D-6E8A-4147-A177-3AD203B41FA5}">
                      <a16:colId xmlns:a16="http://schemas.microsoft.com/office/drawing/2014/main" val="3382048757"/>
                    </a:ext>
                  </a:extLst>
                </a:gridCol>
                <a:gridCol w="1607736">
                  <a:extLst>
                    <a:ext uri="{9D8B030D-6E8A-4147-A177-3AD203B41FA5}">
                      <a16:colId xmlns:a16="http://schemas.microsoft.com/office/drawing/2014/main" val="1577839061"/>
                    </a:ext>
                  </a:extLst>
                </a:gridCol>
                <a:gridCol w="1575461">
                  <a:extLst>
                    <a:ext uri="{9D8B030D-6E8A-4147-A177-3AD203B41FA5}">
                      <a16:colId xmlns:a16="http://schemas.microsoft.com/office/drawing/2014/main" val="2405618192"/>
                    </a:ext>
                  </a:extLst>
                </a:gridCol>
              </a:tblGrid>
              <a:tr h="1222941">
                <a:tc>
                  <a:txBody>
                    <a:bodyPr/>
                    <a:lstStyle/>
                    <a:p>
                      <a:pPr algn="ctr" fontAlgn="b"/>
                      <a:r>
                        <a:rPr lang="en-US" sz="2000" b="1" i="0" u="none" strike="noStrike" baseline="0" dirty="0">
                          <a:solidFill>
                            <a:srgbClr val="FFFFFF"/>
                          </a:solidFill>
                          <a:effectLst/>
                          <a:latin typeface="Segoe UI" panose="020B0502040204020203" pitchFamily="34" charset="0"/>
                        </a:rPr>
                        <a:t>Best Practice</a:t>
                      </a:r>
                    </a:p>
                  </a:txBody>
                  <a:tcPr marL="4763" marR="4763" marT="4763"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Seeks, not scans</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Avoid key lookups</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Get most rows on the index page</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Get most rows on the data page</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F497D"/>
                    </a:solidFill>
                  </a:tcPr>
                </a:tc>
                <a:tc>
                  <a:txBody>
                    <a:bodyPr/>
                    <a:lstStyle/>
                    <a:p>
                      <a:pPr algn="ctr" fontAlgn="b"/>
                      <a:r>
                        <a:rPr lang="en-US" sz="2000" b="1" i="0" u="none" strike="noStrike" baseline="0" dirty="0">
                          <a:solidFill>
                            <a:srgbClr val="FFFFFF"/>
                          </a:solidFill>
                          <a:effectLst/>
                          <a:latin typeface="Segoe UI" panose="020B0502040204020203" pitchFamily="34" charset="0"/>
                        </a:rPr>
                        <a:t>Avoid page splits</a:t>
                      </a:r>
                    </a:p>
                  </a:txBody>
                  <a:tcPr marL="4763" marR="4763" marT="4763"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F497D"/>
                    </a:solidFill>
                  </a:tcPr>
                </a:tc>
                <a:extLst>
                  <a:ext uri="{0D108BD9-81ED-4DB2-BD59-A6C34878D82A}">
                    <a16:rowId xmlns:a16="http://schemas.microsoft.com/office/drawing/2014/main" val="1296013491"/>
                  </a:ext>
                </a:extLst>
              </a:tr>
              <a:tr h="740820">
                <a:tc>
                  <a:txBody>
                    <a:bodyPr/>
                    <a:lstStyle/>
                    <a:p>
                      <a:pPr algn="l" fontAlgn="b"/>
                      <a:r>
                        <a:rPr lang="en-US" sz="1800" b="0" i="0" u="none" strike="noStrike" dirty="0">
                          <a:solidFill>
                            <a:srgbClr val="000000"/>
                          </a:solidFill>
                          <a:effectLst/>
                          <a:latin typeface="Segoe UI" panose="020B0502040204020203" pitchFamily="34" charset="0"/>
                        </a:rPr>
                        <a:t> Use frequently searched value</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extLst>
                  <a:ext uri="{0D108BD9-81ED-4DB2-BD59-A6C34878D82A}">
                    <a16:rowId xmlns:a16="http://schemas.microsoft.com/office/drawing/2014/main" val="2204514242"/>
                  </a:ext>
                </a:extLst>
              </a:tr>
              <a:tr h="740820">
                <a:tc>
                  <a:txBody>
                    <a:bodyPr/>
                    <a:lstStyle/>
                    <a:p>
                      <a:pPr algn="l" fontAlgn="b"/>
                      <a:r>
                        <a:rPr lang="en-US" sz="1800" b="0" i="0" u="none" strike="noStrike">
                          <a:solidFill>
                            <a:srgbClr val="000000"/>
                          </a:solidFill>
                          <a:effectLst/>
                          <a:latin typeface="Segoe UI" panose="020B0502040204020203" pitchFamily="34" charset="0"/>
                        </a:rPr>
                        <a:t> Use narrow keys</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r>
                        <a:rPr lang="en-US" sz="1800" b="0" i="0" u="none" strike="noStrike">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extLst>
                  <a:ext uri="{0D108BD9-81ED-4DB2-BD59-A6C34878D82A}">
                    <a16:rowId xmlns:a16="http://schemas.microsoft.com/office/drawing/2014/main" val="2044695732"/>
                  </a:ext>
                </a:extLst>
              </a:tr>
              <a:tr h="740820">
                <a:tc>
                  <a:txBody>
                    <a:bodyPr/>
                    <a:lstStyle/>
                    <a:p>
                      <a:pPr algn="l" fontAlgn="b"/>
                      <a:r>
                        <a:rPr lang="en-US" sz="1800" b="0" i="0" u="none" strike="noStrike">
                          <a:solidFill>
                            <a:srgbClr val="000000"/>
                          </a:solidFill>
                          <a:effectLst/>
                          <a:latin typeface="Segoe UI" panose="020B0502040204020203" pitchFamily="34" charset="0"/>
                        </a:rPr>
                        <a:t> Use unique values</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extLst>
                  <a:ext uri="{0D108BD9-81ED-4DB2-BD59-A6C34878D82A}">
                    <a16:rowId xmlns:a16="http://schemas.microsoft.com/office/drawing/2014/main" val="507477959"/>
                  </a:ext>
                </a:extLst>
              </a:tr>
              <a:tr h="740820">
                <a:tc>
                  <a:txBody>
                    <a:bodyPr/>
                    <a:lstStyle/>
                    <a:p>
                      <a:pPr algn="l" fontAlgn="b"/>
                      <a:r>
                        <a:rPr lang="en-US" sz="1800" b="0" i="0" u="none" strike="noStrike" dirty="0">
                          <a:solidFill>
                            <a:srgbClr val="000000"/>
                          </a:solidFill>
                          <a:effectLst/>
                          <a:latin typeface="Segoe UI" panose="020B0502040204020203" pitchFamily="34" charset="0"/>
                        </a:rPr>
                        <a:t> Use static values</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extLst>
                  <a:ext uri="{0D108BD9-81ED-4DB2-BD59-A6C34878D82A}">
                    <a16:rowId xmlns:a16="http://schemas.microsoft.com/office/drawing/2014/main" val="3216396517"/>
                  </a:ext>
                </a:extLst>
              </a:tr>
              <a:tr h="740820">
                <a:tc>
                  <a:txBody>
                    <a:bodyPr/>
                    <a:lstStyle/>
                    <a:p>
                      <a:pPr algn="l" fontAlgn="b"/>
                      <a:r>
                        <a:rPr lang="en-US" sz="1800" b="0" i="0" u="none" strike="noStrike">
                          <a:solidFill>
                            <a:srgbClr val="000000"/>
                          </a:solidFill>
                          <a:effectLst/>
                          <a:latin typeface="Segoe UI" panose="020B0502040204020203" pitchFamily="34" charset="0"/>
                        </a:rPr>
                        <a:t> Use ascending or descending key</a:t>
                      </a:r>
                    </a:p>
                  </a:txBody>
                  <a:tcPr marL="4763" marR="4763" marT="4763"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endParaRPr lang="en-US" sz="1800" b="0" i="0" u="none" strike="noStrike" dirty="0">
                        <a:solidFill>
                          <a:srgbClr val="000000"/>
                        </a:solidFill>
                        <a:effectLst/>
                        <a:latin typeface="Segoe UI" panose="020B0502040204020203" pitchFamily="34" charset="0"/>
                      </a:endParaRPr>
                    </a:p>
                  </a:txBody>
                  <a:tcPr marL="4763" marR="4763" marT="4763"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8CCE4"/>
                    </a:solidFill>
                  </a:tcPr>
                </a:tc>
                <a:tc>
                  <a:txBody>
                    <a:bodyPr/>
                    <a:lstStyle/>
                    <a:p>
                      <a:pPr algn="ctr" fontAlgn="b"/>
                      <a:r>
                        <a:rPr lang="en-US" sz="1800" b="0" i="0" u="none" strike="noStrike" dirty="0">
                          <a:solidFill>
                            <a:srgbClr val="000000"/>
                          </a:solidFill>
                          <a:effectLst/>
                          <a:latin typeface="Segoe UI" panose="020B0502040204020203" pitchFamily="34" charset="0"/>
                        </a:rPr>
                        <a:t>X</a:t>
                      </a:r>
                    </a:p>
                  </a:txBody>
                  <a:tcPr marL="4763" marR="4763" marT="4763"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B8CCE4"/>
                    </a:solidFill>
                  </a:tcPr>
                </a:tc>
                <a:extLst>
                  <a:ext uri="{0D108BD9-81ED-4DB2-BD59-A6C34878D82A}">
                    <a16:rowId xmlns:a16="http://schemas.microsoft.com/office/drawing/2014/main" val="1660405691"/>
                  </a:ext>
                </a:extLst>
              </a:tr>
            </a:tbl>
          </a:graphicData>
        </a:graphic>
      </p:graphicFrame>
    </p:spTree>
    <p:extLst>
      <p:ext uri="{BB962C8B-B14F-4D97-AF65-F5344CB8AC3E}">
        <p14:creationId xmlns:p14="http://schemas.microsoft.com/office/powerpoint/2010/main" val="41878103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lustered Index vs Primary key considerations</a:t>
            </a:r>
          </a:p>
        </p:txBody>
      </p:sp>
      <p:graphicFrame>
        <p:nvGraphicFramePr>
          <p:cNvPr id="6" name="Content Placeholder 5">
            <a:extLst>
              <a:ext uri="{FF2B5EF4-FFF2-40B4-BE49-F238E27FC236}">
                <a16:creationId xmlns:a16="http://schemas.microsoft.com/office/drawing/2014/main" id="{FE39FBFC-2347-4F5C-9A5B-6BC4070C7FFE}"/>
              </a:ext>
            </a:extLst>
          </p:cNvPr>
          <p:cNvGraphicFramePr>
            <a:graphicFrameLocks noGrp="1"/>
          </p:cNvGraphicFramePr>
          <p:nvPr>
            <p:ph sz="quarter" idx="13"/>
            <p:extLst>
              <p:ext uri="{D42A27DB-BD31-4B8C-83A1-F6EECF244321}">
                <p14:modId xmlns:p14="http://schemas.microsoft.com/office/powerpoint/2010/main" val="217615519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180026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on-Clustered Index Strategy</a:t>
            </a:r>
          </a:p>
        </p:txBody>
      </p:sp>
      <p:graphicFrame>
        <p:nvGraphicFramePr>
          <p:cNvPr id="5" name="Content Placeholder 4">
            <a:extLst>
              <a:ext uri="{FF2B5EF4-FFF2-40B4-BE49-F238E27FC236}">
                <a16:creationId xmlns:a16="http://schemas.microsoft.com/office/drawing/2014/main" id="{25A6B57F-352F-4FDB-9602-F090C817F748}"/>
              </a:ext>
            </a:extLst>
          </p:cNvPr>
          <p:cNvGraphicFramePr>
            <a:graphicFrameLocks noGrp="1"/>
          </p:cNvGraphicFramePr>
          <p:nvPr>
            <p:ph sz="quarter" idx="13"/>
            <p:extLst>
              <p:ext uri="{D42A27DB-BD31-4B8C-83A1-F6EECF244321}">
                <p14:modId xmlns:p14="http://schemas.microsoft.com/office/powerpoint/2010/main" val="1824121565"/>
              </p:ext>
            </p:extLst>
          </p:nvPr>
        </p:nvGraphicFramePr>
        <p:xfrm>
          <a:off x="655638" y="1124607"/>
          <a:ext cx="10880726" cy="5413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17838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ingle Vs Multi-column indexes</a:t>
            </a:r>
          </a:p>
        </p:txBody>
      </p:sp>
      <p:graphicFrame>
        <p:nvGraphicFramePr>
          <p:cNvPr id="5" name="Content Placeholder 4">
            <a:extLst>
              <a:ext uri="{FF2B5EF4-FFF2-40B4-BE49-F238E27FC236}">
                <a16:creationId xmlns:a16="http://schemas.microsoft.com/office/drawing/2014/main" id="{5D7438D8-5693-4DB1-95DC-55A0C8D2FCF2}"/>
              </a:ext>
            </a:extLst>
          </p:cNvPr>
          <p:cNvGraphicFramePr>
            <a:graphicFrameLocks noGrp="1"/>
          </p:cNvGraphicFramePr>
          <p:nvPr>
            <p:ph sz="quarter" idx="13"/>
            <p:extLst>
              <p:ext uri="{D42A27DB-BD31-4B8C-83A1-F6EECF244321}">
                <p14:modId xmlns:p14="http://schemas.microsoft.com/office/powerpoint/2010/main" val="3218689031"/>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501018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ulti-Column Indexing Access </a:t>
            </a:r>
          </a:p>
        </p:txBody>
      </p:sp>
      <p:graphicFrame>
        <p:nvGraphicFramePr>
          <p:cNvPr id="6" name="Content Placeholder 5">
            <a:extLst>
              <a:ext uri="{FF2B5EF4-FFF2-40B4-BE49-F238E27FC236}">
                <a16:creationId xmlns:a16="http://schemas.microsoft.com/office/drawing/2014/main" id="{C6DD82E5-4CD6-4965-867A-3C9E652E2635}"/>
              </a:ext>
            </a:extLst>
          </p:cNvPr>
          <p:cNvGraphicFramePr>
            <a:graphicFrameLocks noGrp="1"/>
          </p:cNvGraphicFramePr>
          <p:nvPr>
            <p:ph sz="quarter" idx="13"/>
            <p:extLst>
              <p:ext uri="{D42A27DB-BD31-4B8C-83A1-F6EECF244321}">
                <p14:modId xmlns:p14="http://schemas.microsoft.com/office/powerpoint/2010/main" val="2631070153"/>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10337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1: Index Internals </a:t>
            </a:r>
          </a:p>
        </p:txBody>
      </p:sp>
    </p:spTree>
    <p:extLst>
      <p:ext uri="{BB962C8B-B14F-4D97-AF65-F5344CB8AC3E}">
        <p14:creationId xmlns:p14="http://schemas.microsoft.com/office/powerpoint/2010/main" val="4083746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1079162" cy="604798"/>
          </a:xfrm>
        </p:spPr>
        <p:txBody>
          <a:bodyPr/>
          <a:lstStyle/>
          <a:p>
            <a:r>
              <a:rPr lang="en-US" dirty="0"/>
              <a:t>Lesson 3: Index Monitoring and Fragmentation</a:t>
            </a:r>
          </a:p>
        </p:txBody>
      </p:sp>
    </p:spTree>
    <p:extLst>
      <p:ext uri="{BB962C8B-B14F-4D97-AF65-F5344CB8AC3E}">
        <p14:creationId xmlns:p14="http://schemas.microsoft.com/office/powerpoint/2010/main" val="32650423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a:t>Monitor index usage.</a:t>
            </a:r>
          </a:p>
          <a:p>
            <a:r>
              <a:rPr lang="en-US"/>
              <a:t>Describe page splits.</a:t>
            </a:r>
          </a:p>
          <a:p>
            <a:r>
              <a:rPr lang="en-US"/>
              <a:t>Understand problems caused by page splits.</a:t>
            </a:r>
          </a:p>
          <a:p>
            <a:r>
              <a:rPr lang="en-US"/>
              <a:t>Monitor index fragmentation and free space.</a:t>
            </a:r>
          </a:p>
          <a:p>
            <a:r>
              <a:rPr lang="en-US"/>
              <a:t>Review options to remove fragmentation and free spac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Why to monitor Index usage</a:t>
            </a:r>
          </a:p>
        </p:txBody>
      </p:sp>
      <p:graphicFrame>
        <p:nvGraphicFramePr>
          <p:cNvPr id="7" name="Content Placeholder 6">
            <a:extLst>
              <a:ext uri="{FF2B5EF4-FFF2-40B4-BE49-F238E27FC236}">
                <a16:creationId xmlns:a16="http://schemas.microsoft.com/office/drawing/2014/main" id="{8E814E8D-720B-47C9-8A1F-4441C2B85411}"/>
              </a:ext>
            </a:extLst>
          </p:cNvPr>
          <p:cNvGraphicFramePr>
            <a:graphicFrameLocks noGrp="1"/>
          </p:cNvGraphicFramePr>
          <p:nvPr>
            <p:ph sz="quarter" idx="13"/>
            <p:extLst>
              <p:ext uri="{D42A27DB-BD31-4B8C-83A1-F6EECF244321}">
                <p14:modId xmlns:p14="http://schemas.microsoft.com/office/powerpoint/2010/main" val="2709693044"/>
              </p:ext>
            </p:extLst>
          </p:nvPr>
        </p:nvGraphicFramePr>
        <p:xfrm>
          <a:off x="655638" y="1408114"/>
          <a:ext cx="10880726" cy="46635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44295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Clustered Index usage patterns</a:t>
            </a:r>
          </a:p>
        </p:txBody>
      </p:sp>
      <p:graphicFrame>
        <p:nvGraphicFramePr>
          <p:cNvPr id="10" name="Table 5">
            <a:extLst>
              <a:ext uri="{FF2B5EF4-FFF2-40B4-BE49-F238E27FC236}">
                <a16:creationId xmlns:a16="http://schemas.microsoft.com/office/drawing/2014/main" id="{7FC218A8-88B5-4B09-9039-98226F89CDF8}"/>
              </a:ext>
            </a:extLst>
          </p:cNvPr>
          <p:cNvGraphicFramePr>
            <a:graphicFrameLocks noGrp="1"/>
          </p:cNvGraphicFramePr>
          <p:nvPr>
            <p:ph sz="quarter" idx="13"/>
            <p:extLst>
              <p:ext uri="{D42A27DB-BD31-4B8C-83A1-F6EECF244321}">
                <p14:modId xmlns:p14="http://schemas.microsoft.com/office/powerpoint/2010/main" val="4153170852"/>
              </p:ext>
            </p:extLst>
          </p:nvPr>
        </p:nvGraphicFramePr>
        <p:xfrm>
          <a:off x="655638" y="1408112"/>
          <a:ext cx="10880724" cy="4443454"/>
        </p:xfrm>
        <a:graphic>
          <a:graphicData uri="http://schemas.openxmlformats.org/drawingml/2006/table">
            <a:tbl>
              <a:tblPr firstRow="1" bandRow="1">
                <a:tableStyleId>{21E4AEA4-8DFA-4A89-87EB-49C32662AFE0}</a:tableStyleId>
              </a:tblPr>
              <a:tblGrid>
                <a:gridCol w="4754562">
                  <a:extLst>
                    <a:ext uri="{9D8B030D-6E8A-4147-A177-3AD203B41FA5}">
                      <a16:colId xmlns:a16="http://schemas.microsoft.com/office/drawing/2014/main" val="3431258406"/>
                    </a:ext>
                  </a:extLst>
                </a:gridCol>
                <a:gridCol w="6126162">
                  <a:extLst>
                    <a:ext uri="{9D8B030D-6E8A-4147-A177-3AD203B41FA5}">
                      <a16:colId xmlns:a16="http://schemas.microsoft.com/office/drawing/2014/main" val="3006042379"/>
                    </a:ext>
                  </a:extLst>
                </a:gridCol>
              </a:tblGrid>
              <a:tr h="621257">
                <a:tc>
                  <a:txBody>
                    <a:bodyPr/>
                    <a:lstStyle/>
                    <a:p>
                      <a:r>
                        <a:rPr lang="en-US" sz="2400" dirty="0"/>
                        <a:t>Pattern</a:t>
                      </a:r>
                    </a:p>
                  </a:txBody>
                  <a:tcPr marL="93260" marR="93260" marT="46630" marB="46630"/>
                </a:tc>
                <a:tc>
                  <a:txBody>
                    <a:bodyPr/>
                    <a:lstStyle/>
                    <a:p>
                      <a:r>
                        <a:rPr lang="en-US" sz="2400"/>
                        <a:t>Interpretation</a:t>
                      </a:r>
                    </a:p>
                  </a:txBody>
                  <a:tcPr marL="93260" marR="93260" marT="46630" marB="46630"/>
                </a:tc>
                <a:extLst>
                  <a:ext uri="{0D108BD9-81ED-4DB2-BD59-A6C34878D82A}">
                    <a16:rowId xmlns:a16="http://schemas.microsoft.com/office/drawing/2014/main" val="2280401480"/>
                  </a:ext>
                </a:extLst>
              </a:tr>
              <a:tr h="1075357">
                <a:tc>
                  <a:txBody>
                    <a:bodyPr/>
                    <a:lstStyle/>
                    <a:p>
                      <a:pPr lvl="0"/>
                      <a:r>
                        <a:rPr lang="en-US" sz="2400"/>
                        <a:t>Seeks, but no scans</a:t>
                      </a:r>
                    </a:p>
                  </a:txBody>
                  <a:tcPr marL="93260" marR="93260" marT="46630" marB="46630">
                    <a:solidFill>
                      <a:srgbClr val="CBD6EF"/>
                    </a:solidFill>
                  </a:tcPr>
                </a:tc>
                <a:tc>
                  <a:txBody>
                    <a:bodyPr/>
                    <a:lstStyle/>
                    <a:p>
                      <a:pPr marL="342900" indent="-342900">
                        <a:buFont typeface="Arial" panose="020B0604020202020204" pitchFamily="34" charset="0"/>
                        <a:buChar char="•"/>
                      </a:pPr>
                      <a:r>
                        <a:rPr lang="en-US" sz="2400"/>
                        <a:t>May not need maintenance.  Seeks are not impacted by fragmentation</a:t>
                      </a:r>
                    </a:p>
                  </a:txBody>
                  <a:tcPr marL="93260" marR="93260" marT="46630" marB="46630">
                    <a:solidFill>
                      <a:srgbClr val="CBD6EF"/>
                    </a:solidFill>
                  </a:tcPr>
                </a:tc>
                <a:extLst>
                  <a:ext uri="{0D108BD9-81ED-4DB2-BD59-A6C34878D82A}">
                    <a16:rowId xmlns:a16="http://schemas.microsoft.com/office/drawing/2014/main" val="858754707"/>
                  </a:ext>
                </a:extLst>
              </a:tr>
              <a:tr h="153491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baseline="0"/>
                        <a:t>Clustered index with High number of scans</a:t>
                      </a:r>
                      <a:endParaRPr lang="en-US" sz="2400"/>
                    </a:p>
                  </a:txBody>
                  <a:tcPr marL="93260" marR="93260" marT="46630" marB="46630">
                    <a:solidFill>
                      <a:srgbClr val="E7ECF7"/>
                    </a:solidFill>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aseline="0" dirty="0"/>
                        <a:t>Review missing index recommendation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aseline="0" dirty="0"/>
                        <a:t>Consider changing Clustering key.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aseline="0" dirty="0"/>
                        <a:t>Simplify queries with complex WHERE clauses</a:t>
                      </a:r>
                    </a:p>
                  </a:txBody>
                  <a:tcPr marL="93260" marR="93260" marT="46630" marB="46630">
                    <a:solidFill>
                      <a:srgbClr val="E7ECF7"/>
                    </a:solidFill>
                  </a:tcPr>
                </a:tc>
                <a:extLst>
                  <a:ext uri="{0D108BD9-81ED-4DB2-BD59-A6C34878D82A}">
                    <a16:rowId xmlns:a16="http://schemas.microsoft.com/office/drawing/2014/main" val="2761090164"/>
                  </a:ext>
                </a:extLst>
              </a:tr>
              <a:tr h="1075357">
                <a:tc>
                  <a:txBody>
                    <a:bodyPr/>
                    <a:lstStyle/>
                    <a:p>
                      <a:r>
                        <a:rPr lang="en-US" sz="2400" baseline="0"/>
                        <a:t>Clustered index with Low number of seeks and high number of lookups  </a:t>
                      </a:r>
                      <a:endParaRPr lang="en-US" sz="2400"/>
                    </a:p>
                  </a:txBody>
                  <a:tcPr marL="93260" marR="93260" marT="46630" marB="46630">
                    <a:solidFill>
                      <a:srgbClr val="CBD6EF"/>
                    </a:solidFill>
                  </a:tcPr>
                </a:tc>
                <a:tc>
                  <a:txBody>
                    <a:bodyPr/>
                    <a:lstStyle/>
                    <a:p>
                      <a:pPr marL="285750" indent="-285750">
                        <a:buFont typeface="Arial" panose="020B0604020202020204" pitchFamily="34" charset="0"/>
                        <a:buChar char="•"/>
                      </a:pPr>
                      <a:r>
                        <a:rPr lang="en-US" sz="2400" dirty="0"/>
                        <a:t>May need</a:t>
                      </a:r>
                      <a:r>
                        <a:rPr lang="en-US" sz="2400" baseline="0" dirty="0"/>
                        <a:t> to change Clustering Key</a:t>
                      </a:r>
                    </a:p>
                    <a:p>
                      <a:pPr marL="285750" indent="-285750">
                        <a:buFont typeface="Arial" panose="020B0604020202020204" pitchFamily="34" charset="0"/>
                        <a:buChar char="•"/>
                      </a:pPr>
                      <a:r>
                        <a:rPr lang="en-US" sz="2400" baseline="0" dirty="0">
                          <a:solidFill>
                            <a:schemeClr val="tx1"/>
                          </a:solidFill>
                        </a:rPr>
                        <a:t>Look how often bookmark lookups occur.</a:t>
                      </a:r>
                      <a:endParaRPr lang="en-US" sz="2400" dirty="0">
                        <a:solidFill>
                          <a:schemeClr val="tx1"/>
                        </a:solidFill>
                      </a:endParaRPr>
                    </a:p>
                  </a:txBody>
                  <a:tcPr marL="93260" marR="93260" marT="46630" marB="46630">
                    <a:solidFill>
                      <a:srgbClr val="CBD6EF"/>
                    </a:solidFill>
                  </a:tcPr>
                </a:tc>
                <a:extLst>
                  <a:ext uri="{0D108BD9-81ED-4DB2-BD59-A6C34878D82A}">
                    <a16:rowId xmlns:a16="http://schemas.microsoft.com/office/drawing/2014/main" val="3610092313"/>
                  </a:ext>
                </a:extLst>
              </a:tr>
            </a:tbl>
          </a:graphicData>
        </a:graphic>
      </p:graphicFrame>
    </p:spTree>
    <p:extLst>
      <p:ext uri="{BB962C8B-B14F-4D97-AF65-F5344CB8AC3E}">
        <p14:creationId xmlns:p14="http://schemas.microsoft.com/office/powerpoint/2010/main" val="25085062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Non-Clustered Index usage patterns</a:t>
            </a:r>
          </a:p>
        </p:txBody>
      </p:sp>
      <p:graphicFrame>
        <p:nvGraphicFramePr>
          <p:cNvPr id="5" name="Table 4">
            <a:extLst>
              <a:ext uri="{FF2B5EF4-FFF2-40B4-BE49-F238E27FC236}">
                <a16:creationId xmlns:a16="http://schemas.microsoft.com/office/drawing/2014/main" id="{D3FE1FB0-9FF4-44EA-99AB-92BAF660D1B8}"/>
              </a:ext>
            </a:extLst>
          </p:cNvPr>
          <p:cNvGraphicFramePr>
            <a:graphicFrameLocks noGrp="1"/>
          </p:cNvGraphicFramePr>
          <p:nvPr>
            <p:extLst>
              <p:ext uri="{D42A27DB-BD31-4B8C-83A1-F6EECF244321}">
                <p14:modId xmlns:p14="http://schemas.microsoft.com/office/powerpoint/2010/main" val="1787524744"/>
              </p:ext>
            </p:extLst>
          </p:nvPr>
        </p:nvGraphicFramePr>
        <p:xfrm>
          <a:off x="655635" y="1482728"/>
          <a:ext cx="10880725" cy="4559195"/>
        </p:xfrm>
        <a:graphic>
          <a:graphicData uri="http://schemas.openxmlformats.org/drawingml/2006/table">
            <a:tbl>
              <a:tblPr firstRow="1" bandRow="1">
                <a:tableStyleId>{5C22544A-7EE6-4342-B048-85BDC9FD1C3A}</a:tableStyleId>
              </a:tblPr>
              <a:tblGrid>
                <a:gridCol w="4983165">
                  <a:extLst>
                    <a:ext uri="{9D8B030D-6E8A-4147-A177-3AD203B41FA5}">
                      <a16:colId xmlns:a16="http://schemas.microsoft.com/office/drawing/2014/main" val="3752103025"/>
                    </a:ext>
                  </a:extLst>
                </a:gridCol>
                <a:gridCol w="5897560">
                  <a:extLst>
                    <a:ext uri="{9D8B030D-6E8A-4147-A177-3AD203B41FA5}">
                      <a16:colId xmlns:a16="http://schemas.microsoft.com/office/drawing/2014/main" val="1247980702"/>
                    </a:ext>
                  </a:extLst>
                </a:gridCol>
              </a:tblGrid>
              <a:tr h="553761">
                <a:tc>
                  <a:txBody>
                    <a:bodyPr/>
                    <a:lstStyle/>
                    <a:p>
                      <a:r>
                        <a:rPr lang="en-US" sz="2400"/>
                        <a:t>Pattern</a:t>
                      </a:r>
                    </a:p>
                  </a:txBody>
                  <a:tcPr marL="93260" marR="93260" marT="46630" marB="46630">
                    <a:solidFill>
                      <a:schemeClr val="accent2"/>
                    </a:solidFill>
                  </a:tcPr>
                </a:tc>
                <a:tc>
                  <a:txBody>
                    <a:bodyPr/>
                    <a:lstStyle/>
                    <a:p>
                      <a:r>
                        <a:rPr lang="en-US" sz="2400"/>
                        <a:t>Interpretation</a:t>
                      </a:r>
                    </a:p>
                  </a:txBody>
                  <a:tcPr marL="93260" marR="93260" marT="46630" marB="46630">
                    <a:solidFill>
                      <a:schemeClr val="accent2"/>
                    </a:solidFill>
                  </a:tcPr>
                </a:tc>
                <a:extLst>
                  <a:ext uri="{0D108BD9-81ED-4DB2-BD59-A6C34878D82A}">
                    <a16:rowId xmlns:a16="http://schemas.microsoft.com/office/drawing/2014/main" val="3668449087"/>
                  </a:ext>
                </a:extLst>
              </a:tr>
              <a:tr h="939817">
                <a:tc>
                  <a:txBody>
                    <a:bodyPr/>
                    <a:lstStyle/>
                    <a:p>
                      <a:pPr lvl="0"/>
                      <a:r>
                        <a:rPr lang="en-US" sz="2400"/>
                        <a:t>Seeks, but no scans</a:t>
                      </a:r>
                    </a:p>
                  </a:txBody>
                  <a:tcPr marL="93260" marR="93260" marT="46630" marB="46630"/>
                </a:tc>
                <a:tc>
                  <a:txBody>
                    <a:bodyPr/>
                    <a:lstStyle/>
                    <a:p>
                      <a:pPr marL="285750" indent="-285750">
                        <a:buFont typeface="Arial" panose="020B0604020202020204" pitchFamily="34" charset="0"/>
                        <a:buChar char="•"/>
                      </a:pPr>
                      <a:r>
                        <a:rPr lang="en-US" sz="2400"/>
                        <a:t>May not need maintenance.  </a:t>
                      </a:r>
                    </a:p>
                    <a:p>
                      <a:pPr marL="285750" indent="-285750">
                        <a:buFont typeface="Arial" panose="020B0604020202020204" pitchFamily="34" charset="0"/>
                        <a:buChar char="•"/>
                      </a:pPr>
                      <a:r>
                        <a:rPr lang="en-US" sz="2400"/>
                        <a:t>Seeks are not impacted by fragmentation</a:t>
                      </a:r>
                    </a:p>
                  </a:txBody>
                  <a:tcPr marL="93260" marR="93260" marT="46630" marB="46630"/>
                </a:tc>
                <a:extLst>
                  <a:ext uri="{0D108BD9-81ED-4DB2-BD59-A6C34878D82A}">
                    <a16:rowId xmlns:a16="http://schemas.microsoft.com/office/drawing/2014/main" val="4255939635"/>
                  </a:ext>
                </a:extLst>
              </a:tr>
              <a:tr h="1341453">
                <a:tc>
                  <a:txBody>
                    <a:bodyPr/>
                    <a:lstStyle/>
                    <a:p>
                      <a:pPr lvl="0"/>
                      <a:r>
                        <a:rPr lang="en-US" sz="2400" dirty="0"/>
                        <a:t>Non-Clustered index with High </a:t>
                      </a:r>
                      <a:r>
                        <a:rPr lang="en-US" sz="2400" baseline="0" dirty="0"/>
                        <a:t>number of </a:t>
                      </a:r>
                      <a:r>
                        <a:rPr lang="en-US" sz="2400" dirty="0"/>
                        <a:t>scans</a:t>
                      </a:r>
                    </a:p>
                  </a:txBody>
                  <a:tcPr marL="93260" marR="93260" marT="46630" marB="46630"/>
                </a:tc>
                <a:tc>
                  <a:txBody>
                    <a:bodyPr/>
                    <a:lstStyle/>
                    <a:p>
                      <a:pPr marL="285750" indent="-285750">
                        <a:buFont typeface="Arial" panose="020B0604020202020204" pitchFamily="34" charset="0"/>
                        <a:buChar char="•"/>
                      </a:pPr>
                      <a:r>
                        <a:rPr lang="en-US" sz="2400" baseline="0"/>
                        <a:t>Consider compression.  </a:t>
                      </a:r>
                    </a:p>
                    <a:p>
                      <a:pPr marL="285750" indent="-285750">
                        <a:buFont typeface="Arial" panose="020B0604020202020204" pitchFamily="34" charset="0"/>
                        <a:buChar char="•"/>
                      </a:pPr>
                      <a:r>
                        <a:rPr lang="en-US" sz="2400" baseline="0"/>
                        <a:t>Check for non-SARGable queries. </a:t>
                      </a:r>
                    </a:p>
                    <a:p>
                      <a:pPr marL="285750" indent="-285750">
                        <a:buFont typeface="Arial" panose="020B0604020202020204" pitchFamily="34" charset="0"/>
                        <a:buChar char="•"/>
                      </a:pPr>
                      <a:r>
                        <a:rPr lang="en-US" sz="2400" baseline="0"/>
                        <a:t>Review missing index recommendations</a:t>
                      </a:r>
                    </a:p>
                  </a:txBody>
                  <a:tcPr marL="93260" marR="93260" marT="46630" marB="46630"/>
                </a:tc>
                <a:extLst>
                  <a:ext uri="{0D108BD9-81ED-4DB2-BD59-A6C34878D82A}">
                    <a16:rowId xmlns:a16="http://schemas.microsoft.com/office/drawing/2014/main" val="279648954"/>
                  </a:ext>
                </a:extLst>
              </a:tr>
              <a:tr h="55376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a:t>Index with No/low usage</a:t>
                      </a:r>
                    </a:p>
                  </a:txBody>
                  <a:tcPr marL="93260" marR="93260" marT="46630" marB="46630"/>
                </a:tc>
                <a:tc>
                  <a:txBody>
                    <a:bodyPr/>
                    <a:lstStyle/>
                    <a:p>
                      <a:pPr marL="342900" indent="-342900">
                        <a:buFont typeface="Arial" panose="020B0604020202020204" pitchFamily="34" charset="0"/>
                        <a:buChar char="•"/>
                      </a:pPr>
                      <a:r>
                        <a:rPr lang="en-US" sz="2400"/>
                        <a:t>May be able to drop or disable</a:t>
                      </a:r>
                      <a:r>
                        <a:rPr lang="en-US" sz="2400" baseline="0"/>
                        <a:t> </a:t>
                      </a:r>
                      <a:r>
                        <a:rPr lang="en-US" sz="2400"/>
                        <a:t>index</a:t>
                      </a:r>
                    </a:p>
                  </a:txBody>
                  <a:tcPr marL="93260" marR="93260" marT="46630" marB="46630"/>
                </a:tc>
                <a:extLst>
                  <a:ext uri="{0D108BD9-81ED-4DB2-BD59-A6C34878D82A}">
                    <a16:rowId xmlns:a16="http://schemas.microsoft.com/office/drawing/2014/main" val="1529751204"/>
                  </a:ext>
                </a:extLst>
              </a:tr>
              <a:tr h="91968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dirty="0"/>
                        <a:t>Non-Clustered Index Used at specific times only</a:t>
                      </a:r>
                    </a:p>
                  </a:txBody>
                  <a:tcPr marL="93260" marR="93260" marT="46630" marB="46630"/>
                </a:tc>
                <a:tc>
                  <a:txBody>
                    <a:bodyPr/>
                    <a:lstStyle/>
                    <a:p>
                      <a:pPr marL="342900" indent="-342900">
                        <a:buFont typeface="Arial" panose="020B0604020202020204" pitchFamily="34" charset="0"/>
                        <a:buChar char="•"/>
                      </a:pPr>
                      <a:r>
                        <a:rPr lang="en-US" sz="2400" dirty="0"/>
                        <a:t>May be able to drop index,</a:t>
                      </a:r>
                      <a:r>
                        <a:rPr lang="en-US" sz="2400" baseline="0" dirty="0"/>
                        <a:t> recreate when needed</a:t>
                      </a:r>
                      <a:endParaRPr lang="en-US" sz="2400" dirty="0"/>
                    </a:p>
                  </a:txBody>
                  <a:tcPr marL="93260" marR="93260" marT="46630" marB="46630"/>
                </a:tc>
                <a:extLst>
                  <a:ext uri="{0D108BD9-81ED-4DB2-BD59-A6C34878D82A}">
                    <a16:rowId xmlns:a16="http://schemas.microsoft.com/office/drawing/2014/main" val="2521046871"/>
                  </a:ext>
                </a:extLst>
              </a:tr>
            </a:tbl>
          </a:graphicData>
        </a:graphic>
      </p:graphicFrame>
    </p:spTree>
    <p:extLst>
      <p:ext uri="{BB962C8B-B14F-4D97-AF65-F5344CB8AC3E}">
        <p14:creationId xmlns:p14="http://schemas.microsoft.com/office/powerpoint/2010/main" val="6689745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da-DK" dirty="0">
                <a:solidFill>
                  <a:srgbClr val="107C10"/>
                </a:solidFill>
              </a:rPr>
              <a:t>sys.dm_db_index_usage_stats</a:t>
            </a:r>
            <a:endParaRPr lang="en-US" dirty="0">
              <a:solidFill>
                <a:srgbClr val="107C10"/>
              </a:solidFill>
            </a:endParaRP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normAutofit/>
          </a:bodyPr>
          <a:lstStyle/>
          <a:p>
            <a:pPr lvl="1"/>
            <a:r>
              <a:rPr lang="en-US" sz="2400" dirty="0"/>
              <a:t>Tracks seeks, scans, and lookups</a:t>
            </a:r>
          </a:p>
          <a:p>
            <a:pPr lvl="1"/>
            <a:r>
              <a:rPr lang="en-US" sz="2400" dirty="0"/>
              <a:t>Provides date of last access</a:t>
            </a:r>
          </a:p>
          <a:p>
            <a:pPr lvl="1"/>
            <a:r>
              <a:rPr lang="en-US" sz="2400" dirty="0"/>
              <a:t>Counters are incremented once per query execution</a:t>
            </a:r>
          </a:p>
          <a:p>
            <a:pPr lvl="1"/>
            <a:r>
              <a:rPr lang="en-US" sz="2400" dirty="0"/>
              <a:t>User and system access (such as index rebuilds) are tallied </a:t>
            </a:r>
            <a:r>
              <a:rPr lang="en-US" sz="2400" dirty="0">
                <a:cs typeface="Segoe UI" panose="020B0502040204020203" pitchFamily="34" charset="0"/>
              </a:rPr>
              <a:t>separately</a:t>
            </a:r>
          </a:p>
          <a:p>
            <a:pPr lvl="1"/>
            <a:r>
              <a:rPr lang="en-US" sz="2400" dirty="0"/>
              <a:t>Counters are initialized to at SQL Server (MSSQLSERVER) service is restarts</a:t>
            </a:r>
          </a:p>
        </p:txBody>
      </p:sp>
      <p:sp>
        <p:nvSpPr>
          <p:cNvPr id="6" name="Rectangle 5">
            <a:extLst>
              <a:ext uri="{FF2B5EF4-FFF2-40B4-BE49-F238E27FC236}">
                <a16:creationId xmlns:a16="http://schemas.microsoft.com/office/drawing/2014/main" id="{52A792B6-1B28-444F-8A7C-2727FAFF8B02}"/>
              </a:ext>
            </a:extLst>
          </p:cNvPr>
          <p:cNvSpPr/>
          <p:nvPr/>
        </p:nvSpPr>
        <p:spPr>
          <a:xfrm>
            <a:off x="655636" y="3638896"/>
            <a:ext cx="10880725" cy="2899064"/>
          </a:xfrm>
          <a:prstGeom prst="rect">
            <a:avLst/>
          </a:prstGeom>
          <a:ln>
            <a:solidFill>
              <a:schemeClr val="accent1"/>
            </a:solidFill>
          </a:ln>
          <a:effectLst/>
        </p:spPr>
        <p:txBody>
          <a:bodyPr wrap="square">
            <a:noAutofit/>
          </a:bodyPr>
          <a:lstStyle/>
          <a:p>
            <a:r>
              <a:rPr lang="en-US" sz="1400" dirty="0">
                <a:solidFill>
                  <a:srgbClr val="0000FF"/>
                </a:solidFill>
                <a:latin typeface="Consolas" panose="020B0609020204030204" pitchFamily="49" charset="0"/>
              </a:rPr>
              <a:t>SELECT</a:t>
            </a:r>
            <a:r>
              <a:rPr lang="en-US" sz="1400" dirty="0">
                <a:solidFill>
                  <a:srgbClr val="000000"/>
                </a:solidFill>
                <a:latin typeface="Consolas" panose="020B0609020204030204" pitchFamily="49" charset="0"/>
              </a:rPr>
              <a:t> </a:t>
            </a:r>
          </a:p>
          <a:p>
            <a:r>
              <a:rPr lang="en-US" sz="1400" dirty="0">
                <a:solidFill>
                  <a:srgbClr val="000000"/>
                </a:solidFill>
                <a:latin typeface="Consolas" panose="020B0609020204030204" pitchFamily="49" charset="0"/>
              </a:rPr>
              <a:t>	</a:t>
            </a:r>
            <a:r>
              <a:rPr lang="en-US" sz="1400" dirty="0">
                <a:solidFill>
                  <a:srgbClr val="0035DE"/>
                </a:solidFill>
                <a:latin typeface="Consolas" panose="020B0609020204030204" pitchFamily="49" charset="0"/>
              </a:rPr>
              <a:t>Distinct</a:t>
            </a:r>
            <a:r>
              <a:rPr lang="en-US" sz="1400" dirty="0">
                <a:latin typeface="Consolas" panose="020B0609020204030204" pitchFamily="49" charset="0"/>
              </a:rPr>
              <a:t> </a:t>
            </a:r>
            <a:r>
              <a:rPr lang="en-US" sz="1400" dirty="0">
                <a:solidFill>
                  <a:srgbClr val="9201FF"/>
                </a:solidFill>
                <a:latin typeface="Consolas" panose="020B0609020204030204" pitchFamily="49" charset="0"/>
              </a:rPr>
              <a:t>OBJECT_NAME</a:t>
            </a:r>
            <a:r>
              <a:rPr lang="en-US" sz="1400" dirty="0">
                <a:latin typeface="Consolas" panose="020B0609020204030204" pitchFamily="49" charset="0"/>
              </a:rPr>
              <a:t>(</a:t>
            </a:r>
            <a:r>
              <a:rPr lang="en-US" sz="1400" dirty="0" err="1">
                <a:latin typeface="Consolas" panose="020B0609020204030204" pitchFamily="49" charset="0"/>
              </a:rPr>
              <a:t>Indx.</a:t>
            </a:r>
            <a:r>
              <a:rPr lang="en-US" sz="1400" dirty="0" err="1">
                <a:solidFill>
                  <a:srgbClr val="9201FF"/>
                </a:solidFill>
                <a:latin typeface="Consolas" panose="020B0609020204030204" pitchFamily="49" charset="0"/>
              </a:rPr>
              <a:t>OBJECT_ID</a:t>
            </a:r>
            <a:r>
              <a:rPr lang="en-US" sz="1400" dirty="0">
                <a:latin typeface="Consolas" panose="020B0609020204030204" pitchFamily="49" charset="0"/>
              </a:rPr>
              <a:t>) </a:t>
            </a:r>
            <a:r>
              <a:rPr lang="en-US" sz="1400" dirty="0" err="1">
                <a:latin typeface="Consolas" panose="020B0609020204030204" pitchFamily="49" charset="0"/>
              </a:rPr>
              <a:t>Table_Name</a:t>
            </a:r>
            <a:r>
              <a:rPr lang="en-US" sz="1400" dirty="0">
                <a:latin typeface="Consolas" panose="020B0609020204030204" pitchFamily="49" charset="0"/>
              </a:rPr>
              <a:t>  ,Indx.</a:t>
            </a:r>
            <a:r>
              <a:rPr lang="en-US" sz="1400" dirty="0">
                <a:solidFill>
                  <a:srgbClr val="0A1FE4"/>
                </a:solidFill>
                <a:latin typeface="Consolas" panose="020B0609020204030204" pitchFamily="49" charset="0"/>
              </a:rPr>
              <a:t>name</a:t>
            </a:r>
            <a:r>
              <a:rPr lang="en-US" sz="1400" dirty="0">
                <a:latin typeface="Consolas" panose="020B0609020204030204" pitchFamily="49" charset="0"/>
              </a:rPr>
              <a:t>  </a:t>
            </a:r>
            <a:r>
              <a:rPr lang="en-US" sz="1400" dirty="0" err="1">
                <a:latin typeface="Consolas" panose="020B0609020204030204" pitchFamily="49" charset="0"/>
              </a:rPr>
              <a:t>IndexName</a:t>
            </a:r>
            <a:r>
              <a:rPr lang="en-US" sz="1400" dirty="0">
                <a:latin typeface="Consolas" panose="020B0609020204030204" pitchFamily="49" charset="0"/>
              </a:rPr>
              <a:t>  </a:t>
            </a:r>
          </a:p>
          <a:p>
            <a:r>
              <a:rPr lang="en-US" sz="1400" dirty="0">
                <a:latin typeface="Consolas" panose="020B0609020204030204" pitchFamily="49" charset="0"/>
              </a:rPr>
              <a:t>	,</a:t>
            </a:r>
            <a:r>
              <a:rPr lang="en-US" sz="1400" dirty="0" err="1">
                <a:latin typeface="Consolas" panose="020B0609020204030204" pitchFamily="49" charset="0"/>
              </a:rPr>
              <a:t>Indx.</a:t>
            </a:r>
            <a:r>
              <a:rPr lang="en-US" sz="1400" dirty="0" err="1">
                <a:solidFill>
                  <a:srgbClr val="0A1FE4"/>
                </a:solidFill>
                <a:latin typeface="Consolas" panose="020B0609020204030204" pitchFamily="49" charset="0"/>
              </a:rPr>
              <a:t>type_desc</a:t>
            </a:r>
            <a:r>
              <a:rPr lang="en-US" sz="1400" dirty="0">
                <a:solidFill>
                  <a:srgbClr val="0A1FE4"/>
                </a:solidFill>
                <a:latin typeface="Consolas" panose="020B0609020204030204" pitchFamily="49" charset="0"/>
              </a:rPr>
              <a:t> </a:t>
            </a:r>
            <a:r>
              <a:rPr lang="en-US" sz="1400" dirty="0" err="1">
                <a:latin typeface="Consolas" panose="020B0609020204030204" pitchFamily="49" charset="0"/>
              </a:rPr>
              <a:t>IndexType,Iusg.user_seeks</a:t>
            </a:r>
            <a:r>
              <a:rPr lang="en-US" sz="1400" dirty="0">
                <a:latin typeface="Consolas" panose="020B0609020204030204" pitchFamily="49" charset="0"/>
              </a:rPr>
              <a:t>  </a:t>
            </a:r>
            <a:r>
              <a:rPr lang="en-US" sz="1400" dirty="0" err="1">
                <a:latin typeface="Consolas" panose="020B0609020204030204" pitchFamily="49" charset="0"/>
              </a:rPr>
              <a:t>Seeks,Iusg.user_scans</a:t>
            </a:r>
            <a:r>
              <a:rPr lang="en-US" sz="1400" dirty="0">
                <a:latin typeface="Consolas" panose="020B0609020204030204" pitchFamily="49" charset="0"/>
              </a:rPr>
              <a:t>  Scans </a:t>
            </a:r>
          </a:p>
          <a:p>
            <a:r>
              <a:rPr lang="en-US" sz="1400" dirty="0">
                <a:latin typeface="Consolas" panose="020B0609020204030204" pitchFamily="49" charset="0"/>
              </a:rPr>
              <a:t>	,</a:t>
            </a:r>
            <a:r>
              <a:rPr lang="en-US" sz="1400" dirty="0" err="1">
                <a:latin typeface="Consolas" panose="020B0609020204030204" pitchFamily="49" charset="0"/>
              </a:rPr>
              <a:t>Iusg.user_lookups</a:t>
            </a:r>
            <a:r>
              <a:rPr lang="en-US" sz="1400" dirty="0">
                <a:latin typeface="Consolas" panose="020B0609020204030204" pitchFamily="49" charset="0"/>
              </a:rPr>
              <a:t>  Lookups ,</a:t>
            </a:r>
            <a:r>
              <a:rPr lang="en-US" sz="1400" dirty="0" err="1">
                <a:latin typeface="Consolas" panose="020B0609020204030204" pitchFamily="49" charset="0"/>
              </a:rPr>
              <a:t>Iusg.user_updates</a:t>
            </a:r>
            <a:r>
              <a:rPr lang="en-US" sz="1400" dirty="0">
                <a:latin typeface="Consolas" panose="020B0609020204030204" pitchFamily="49" charset="0"/>
              </a:rPr>
              <a:t> Updates ,</a:t>
            </a:r>
            <a:r>
              <a:rPr lang="en-US" sz="1400" dirty="0" err="1">
                <a:latin typeface="Consolas" panose="020B0609020204030204" pitchFamily="49" charset="0"/>
              </a:rPr>
              <a:t>Iusg.last_user_seek</a:t>
            </a:r>
            <a:r>
              <a:rPr lang="en-US" sz="1400" dirty="0">
                <a:latin typeface="Consolas" panose="020B0609020204030204" pitchFamily="49" charset="0"/>
              </a:rPr>
              <a:t> </a:t>
            </a:r>
            <a:r>
              <a:rPr lang="en-US" sz="1400" dirty="0" err="1">
                <a:latin typeface="Consolas" panose="020B0609020204030204" pitchFamily="49" charset="0"/>
              </a:rPr>
              <a:t>LastSeek</a:t>
            </a:r>
            <a:endParaRPr lang="en-US" sz="1400" dirty="0">
              <a:latin typeface="Consolas" panose="020B0609020204030204" pitchFamily="49" charset="0"/>
            </a:endParaRPr>
          </a:p>
          <a:p>
            <a:r>
              <a:rPr lang="en-US" sz="1400" dirty="0">
                <a:latin typeface="Consolas" panose="020B0609020204030204" pitchFamily="49" charset="0"/>
              </a:rPr>
              <a:t>	,</a:t>
            </a:r>
            <a:r>
              <a:rPr lang="en-US" sz="1400" dirty="0" err="1">
                <a:latin typeface="Consolas" panose="020B0609020204030204" pitchFamily="49" charset="0"/>
              </a:rPr>
              <a:t>Iusg.last_user_scan</a:t>
            </a:r>
            <a:r>
              <a:rPr lang="en-US" sz="1400" dirty="0">
                <a:latin typeface="Consolas" panose="020B0609020204030204" pitchFamily="49" charset="0"/>
              </a:rPr>
              <a:t> </a:t>
            </a:r>
            <a:r>
              <a:rPr lang="en-US" sz="1400" dirty="0" err="1">
                <a:latin typeface="Consolas" panose="020B0609020204030204" pitchFamily="49" charset="0"/>
              </a:rPr>
              <a:t>LastScan,Iusg.last_user_lookup</a:t>
            </a:r>
            <a:r>
              <a:rPr lang="en-US" sz="1400" dirty="0">
                <a:latin typeface="Consolas" panose="020B0609020204030204" pitchFamily="49" charset="0"/>
              </a:rPr>
              <a:t> </a:t>
            </a:r>
            <a:r>
              <a:rPr lang="en-US" sz="1400" dirty="0" err="1">
                <a:latin typeface="Consolas" panose="020B0609020204030204" pitchFamily="49" charset="0"/>
              </a:rPr>
              <a:t>LastLookup</a:t>
            </a:r>
            <a:r>
              <a:rPr lang="en-US" sz="1400" dirty="0">
                <a:latin typeface="Consolas" panose="020B0609020204030204" pitchFamily="49" charset="0"/>
              </a:rPr>
              <a:t> ,</a:t>
            </a:r>
            <a:r>
              <a:rPr lang="en-US" sz="1400" dirty="0" err="1">
                <a:latin typeface="Consolas" panose="020B0609020204030204" pitchFamily="49" charset="0"/>
              </a:rPr>
              <a:t>Iusg.last_user_update</a:t>
            </a:r>
            <a:r>
              <a:rPr lang="en-US" sz="1400" dirty="0">
                <a:latin typeface="Consolas" panose="020B0609020204030204" pitchFamily="49" charset="0"/>
              </a:rPr>
              <a:t> </a:t>
            </a:r>
            <a:r>
              <a:rPr lang="en-US" sz="1400" dirty="0" err="1">
                <a:latin typeface="Consolas" panose="020B0609020204030204" pitchFamily="49" charset="0"/>
              </a:rPr>
              <a:t>LastUpdate</a:t>
            </a:r>
            <a:endParaRPr lang="en-US" sz="1400" dirty="0">
              <a:latin typeface="Consolas" panose="020B0609020204030204" pitchFamily="49" charset="0"/>
            </a:endParaRPr>
          </a:p>
          <a:p>
            <a:r>
              <a:rPr lang="en-US" sz="1400" dirty="0">
                <a:solidFill>
                  <a:srgbClr val="0035DE"/>
                </a:solidFill>
                <a:latin typeface="Consolas" panose="020B0609020204030204" pitchFamily="49" charset="0"/>
              </a:rPr>
              <a:t>FROM</a:t>
            </a:r>
            <a:r>
              <a:rPr lang="en-US" sz="1400" dirty="0">
                <a:latin typeface="Consolas" panose="020B0609020204030204" pitchFamily="49" charset="0"/>
              </a:rPr>
              <a:t> </a:t>
            </a:r>
          </a:p>
          <a:p>
            <a:r>
              <a:rPr lang="en-US" sz="1400" dirty="0">
                <a:solidFill>
                  <a:schemeClr val="accent4"/>
                </a:solidFill>
                <a:latin typeface="Consolas" panose="020B0609020204030204" pitchFamily="49" charset="0"/>
              </a:rPr>
              <a:t>	SYS.INDEXES </a:t>
            </a:r>
            <a:r>
              <a:rPr lang="en-US" sz="1400" dirty="0" err="1">
                <a:latin typeface="Consolas" panose="020B0609020204030204" pitchFamily="49" charset="0"/>
              </a:rPr>
              <a:t>Indx</a:t>
            </a:r>
            <a:endParaRPr lang="en-US" sz="1400" dirty="0">
              <a:latin typeface="Consolas" panose="020B0609020204030204" pitchFamily="49" charset="0"/>
            </a:endParaRPr>
          </a:p>
          <a:p>
            <a:r>
              <a:rPr lang="en-US" sz="1400" dirty="0">
                <a:solidFill>
                  <a:schemeClr val="bg1">
                    <a:lumMod val="50000"/>
                  </a:schemeClr>
                </a:solidFill>
                <a:latin typeface="Consolas" panose="020B0609020204030204" pitchFamily="49" charset="0"/>
              </a:rPr>
              <a:t>	INNER JOIN </a:t>
            </a:r>
            <a:r>
              <a:rPr lang="en-US" sz="1400" dirty="0">
                <a:solidFill>
                  <a:schemeClr val="accent4"/>
                </a:solidFill>
                <a:latin typeface="Consolas" panose="020B0609020204030204" pitchFamily="49" charset="0"/>
              </a:rPr>
              <a:t>SYS.DM_DB_INDEX_USAGE_STATS </a:t>
            </a:r>
            <a:r>
              <a:rPr lang="en-US" sz="1400" dirty="0" err="1">
                <a:latin typeface="Consolas" panose="020B0609020204030204" pitchFamily="49" charset="0"/>
              </a:rPr>
              <a:t>Iusg</a:t>
            </a:r>
            <a:r>
              <a:rPr lang="en-US" sz="1400" dirty="0">
                <a:latin typeface="Consolas" panose="020B0609020204030204" pitchFamily="49" charset="0"/>
              </a:rPr>
              <a:t> </a:t>
            </a:r>
          </a:p>
          <a:p>
            <a:r>
              <a:rPr lang="en-US" sz="1400" dirty="0">
                <a:solidFill>
                  <a:srgbClr val="0A1FE4"/>
                </a:solidFill>
                <a:latin typeface="Consolas" panose="020B0609020204030204" pitchFamily="49" charset="0"/>
              </a:rPr>
              <a:t>		ON</a:t>
            </a:r>
            <a:r>
              <a:rPr lang="en-US" sz="1400" dirty="0">
                <a:latin typeface="Consolas" panose="020B0609020204030204" pitchFamily="49" charset="0"/>
              </a:rPr>
              <a:t> </a:t>
            </a:r>
            <a:r>
              <a:rPr lang="en-US" sz="1400" dirty="0" err="1">
                <a:latin typeface="Consolas" panose="020B0609020204030204" pitchFamily="49" charset="0"/>
              </a:rPr>
              <a:t>Iusg.index_id</a:t>
            </a:r>
            <a:r>
              <a:rPr lang="en-US" sz="1400" dirty="0">
                <a:latin typeface="Consolas" panose="020B0609020204030204" pitchFamily="49" charset="0"/>
              </a:rPr>
              <a:t> = </a:t>
            </a:r>
            <a:r>
              <a:rPr lang="en-US" sz="1400" dirty="0" err="1">
                <a:latin typeface="Consolas" panose="020B0609020204030204" pitchFamily="49" charset="0"/>
              </a:rPr>
              <a:t>Indx.index_id</a:t>
            </a:r>
            <a:r>
              <a:rPr lang="en-US" sz="1400" dirty="0">
                <a:latin typeface="Consolas" panose="020B0609020204030204" pitchFamily="49" charset="0"/>
              </a:rPr>
              <a:t> </a:t>
            </a:r>
            <a:r>
              <a:rPr lang="en-US" sz="1400" dirty="0">
                <a:solidFill>
                  <a:schemeClr val="bg1">
                    <a:lumMod val="50000"/>
                  </a:schemeClr>
                </a:solidFill>
                <a:latin typeface="Consolas" panose="020B0609020204030204" pitchFamily="49" charset="0"/>
              </a:rPr>
              <a:t>AND</a:t>
            </a:r>
            <a:r>
              <a:rPr lang="en-US" sz="1400" dirty="0">
                <a:latin typeface="Consolas" panose="020B0609020204030204" pitchFamily="49" charset="0"/>
              </a:rPr>
              <a:t> </a:t>
            </a:r>
            <a:r>
              <a:rPr lang="en-US" sz="1400" dirty="0" err="1">
                <a:latin typeface="Consolas" panose="020B0609020204030204" pitchFamily="49" charset="0"/>
              </a:rPr>
              <a:t>Iusg.</a:t>
            </a:r>
            <a:r>
              <a:rPr lang="en-US" sz="1400" dirty="0" err="1">
                <a:solidFill>
                  <a:srgbClr val="9201FF"/>
                </a:solidFill>
                <a:latin typeface="Consolas" panose="020B0609020204030204" pitchFamily="49" charset="0"/>
              </a:rPr>
              <a:t>OBJECT_ID</a:t>
            </a:r>
            <a:r>
              <a:rPr lang="en-US" sz="1400" dirty="0">
                <a:solidFill>
                  <a:srgbClr val="9201FF"/>
                </a:solidFill>
                <a:latin typeface="Consolas" panose="020B0609020204030204" pitchFamily="49" charset="0"/>
              </a:rPr>
              <a:t> </a:t>
            </a:r>
            <a:r>
              <a:rPr lang="en-US" sz="1400" dirty="0">
                <a:latin typeface="Consolas" panose="020B0609020204030204" pitchFamily="49" charset="0"/>
              </a:rPr>
              <a:t>= </a:t>
            </a:r>
            <a:r>
              <a:rPr lang="en-US" sz="1400" dirty="0" err="1">
                <a:latin typeface="Consolas" panose="020B0609020204030204" pitchFamily="49" charset="0"/>
              </a:rPr>
              <a:t>Indx.</a:t>
            </a:r>
            <a:r>
              <a:rPr lang="en-US" sz="1400" dirty="0" err="1">
                <a:solidFill>
                  <a:srgbClr val="9201FF"/>
                </a:solidFill>
                <a:latin typeface="Consolas" panose="020B0609020204030204" pitchFamily="49" charset="0"/>
              </a:rPr>
              <a:t>OBJECT_ID</a:t>
            </a:r>
            <a:endParaRPr lang="en-US" sz="1400" dirty="0">
              <a:solidFill>
                <a:srgbClr val="9201FF"/>
              </a:solidFill>
              <a:latin typeface="Consolas" panose="020B0609020204030204" pitchFamily="49" charset="0"/>
            </a:endParaRPr>
          </a:p>
          <a:p>
            <a:r>
              <a:rPr lang="en-US" sz="1400" dirty="0">
                <a:solidFill>
                  <a:schemeClr val="bg1">
                    <a:lumMod val="50000"/>
                  </a:schemeClr>
                </a:solidFill>
                <a:latin typeface="Consolas" panose="020B0609020204030204" pitchFamily="49" charset="0"/>
              </a:rPr>
              <a:t>	INNER JOIN </a:t>
            </a:r>
            <a:r>
              <a:rPr lang="en-US" sz="1400" dirty="0">
                <a:solidFill>
                  <a:schemeClr val="accent4"/>
                </a:solidFill>
                <a:latin typeface="Consolas" panose="020B0609020204030204" pitchFamily="49" charset="0"/>
              </a:rPr>
              <a:t>SYS.DM_DB_PARTITION_STATS </a:t>
            </a:r>
            <a:r>
              <a:rPr lang="en-US" sz="1400" dirty="0" err="1">
                <a:latin typeface="Consolas" panose="020B0609020204030204" pitchFamily="49" charset="0"/>
              </a:rPr>
              <a:t>PrtSts</a:t>
            </a:r>
            <a:r>
              <a:rPr lang="en-US" sz="1400" dirty="0">
                <a:latin typeface="Consolas" panose="020B0609020204030204" pitchFamily="49" charset="0"/>
              </a:rPr>
              <a:t> </a:t>
            </a:r>
          </a:p>
          <a:p>
            <a:r>
              <a:rPr lang="en-US" sz="1400" dirty="0">
                <a:solidFill>
                  <a:srgbClr val="0A1FE4"/>
                </a:solidFill>
                <a:latin typeface="Consolas" panose="020B0609020204030204" pitchFamily="49" charset="0"/>
              </a:rPr>
              <a:t>		ON</a:t>
            </a:r>
            <a:r>
              <a:rPr lang="en-US" sz="1400" dirty="0">
                <a:latin typeface="Consolas" panose="020B0609020204030204" pitchFamily="49" charset="0"/>
              </a:rPr>
              <a:t> </a:t>
            </a:r>
            <a:r>
              <a:rPr lang="en-US" sz="1400" dirty="0" err="1">
                <a:latin typeface="Consolas" panose="020B0609020204030204" pitchFamily="49" charset="0"/>
              </a:rPr>
              <a:t>PrtSts.object_id</a:t>
            </a:r>
            <a:r>
              <a:rPr lang="en-US" sz="1400" dirty="0">
                <a:latin typeface="Consolas" panose="020B0609020204030204" pitchFamily="49" charset="0"/>
              </a:rPr>
              <a:t>=</a:t>
            </a:r>
            <a:r>
              <a:rPr lang="en-US" sz="1400" dirty="0" err="1">
                <a:latin typeface="Consolas" panose="020B0609020204030204" pitchFamily="49" charset="0"/>
              </a:rPr>
              <a:t>Indx.object_id</a:t>
            </a:r>
            <a:endParaRPr lang="en-US" sz="1400" dirty="0">
              <a:latin typeface="Consolas" panose="020B0609020204030204" pitchFamily="49" charset="0"/>
            </a:endParaRPr>
          </a:p>
          <a:p>
            <a:r>
              <a:rPr lang="en-US" sz="1400" dirty="0">
                <a:solidFill>
                  <a:srgbClr val="0A1FE4"/>
                </a:solidFill>
                <a:latin typeface="Consolas" panose="020B0609020204030204" pitchFamily="49" charset="0"/>
              </a:rPr>
              <a:t>WHERE</a:t>
            </a:r>
            <a:r>
              <a:rPr lang="en-US" sz="1400" dirty="0">
                <a:latin typeface="Consolas" panose="020B0609020204030204" pitchFamily="49" charset="0"/>
              </a:rPr>
              <a:t> </a:t>
            </a:r>
          </a:p>
          <a:p>
            <a:r>
              <a:rPr lang="en-US" sz="1400" dirty="0">
                <a:solidFill>
                  <a:srgbClr val="9201FF"/>
                </a:solidFill>
                <a:latin typeface="Consolas" panose="020B0609020204030204" pitchFamily="49" charset="0"/>
              </a:rPr>
              <a:t>	OBJECTPROPERTY</a:t>
            </a:r>
            <a:r>
              <a:rPr lang="en-US" sz="1400" dirty="0">
                <a:latin typeface="Consolas" panose="020B0609020204030204" pitchFamily="49" charset="0"/>
              </a:rPr>
              <a:t>(Indx.</a:t>
            </a:r>
            <a:r>
              <a:rPr lang="en-US" sz="1400" dirty="0">
                <a:solidFill>
                  <a:srgbClr val="9201FF"/>
                </a:solidFill>
                <a:latin typeface="Consolas" panose="020B0609020204030204" pitchFamily="49" charset="0"/>
              </a:rPr>
              <a:t>OBJECT_ID</a:t>
            </a:r>
            <a:r>
              <a:rPr lang="en-US" sz="1400" dirty="0">
                <a:latin typeface="Consolas" panose="020B0609020204030204" pitchFamily="49" charset="0"/>
              </a:rPr>
              <a:t>,'</a:t>
            </a:r>
            <a:r>
              <a:rPr lang="en-US" sz="1400" dirty="0" err="1">
                <a:latin typeface="Consolas" panose="020B0609020204030204" pitchFamily="49" charset="0"/>
              </a:rPr>
              <a:t>IsUserTable</a:t>
            </a:r>
            <a:r>
              <a:rPr lang="en-US" sz="1400" dirty="0">
                <a:latin typeface="Consolas" panose="020B0609020204030204" pitchFamily="49" charset="0"/>
              </a:rPr>
              <a:t>') = 1</a:t>
            </a:r>
            <a:endParaRPr lang="en-US" sz="1400" dirty="0">
              <a:solidFill>
                <a:prstClr val="black"/>
              </a:solidFill>
              <a:latin typeface="Consolas" panose="020B0609020204030204" pitchFamily="49" charset="0"/>
            </a:endParaRPr>
          </a:p>
        </p:txBody>
      </p:sp>
    </p:spTree>
    <p:extLst>
      <p:ext uri="{BB962C8B-B14F-4D97-AF65-F5344CB8AC3E}">
        <p14:creationId xmlns:p14="http://schemas.microsoft.com/office/powerpoint/2010/main" val="24719884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b="1">
                <a:solidFill>
                  <a:srgbClr val="107C10"/>
                </a:solidFill>
              </a:rPr>
              <a:t>sys.dm_db_index_operational_stats </a:t>
            </a:r>
            <a:endParaRPr lang="en-US">
              <a:solidFill>
                <a:srgbClr val="107C10"/>
              </a:solidFill>
            </a:endParaRP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08114"/>
            <a:ext cx="10880726" cy="4663502"/>
          </a:xfrm>
        </p:spPr>
        <p:txBody>
          <a:bodyPr/>
          <a:lstStyle/>
          <a:p>
            <a:r>
              <a:rPr lang="en-US" dirty="0"/>
              <a:t>Returns information about the lower-level I/O activities</a:t>
            </a:r>
          </a:p>
          <a:p>
            <a:r>
              <a:rPr lang="en-US" dirty="0"/>
              <a:t>Takes </a:t>
            </a:r>
            <a:r>
              <a:rPr lang="en-US" dirty="0" err="1"/>
              <a:t>database_id</a:t>
            </a:r>
            <a:r>
              <a:rPr lang="en-US" dirty="0"/>
              <a:t>, the </a:t>
            </a:r>
            <a:r>
              <a:rPr lang="en-US" dirty="0" err="1"/>
              <a:t>object_id</a:t>
            </a:r>
            <a:r>
              <a:rPr lang="en-US" dirty="0"/>
              <a:t>, the </a:t>
            </a:r>
            <a:r>
              <a:rPr lang="en-US" dirty="0" err="1"/>
              <a:t>index_id</a:t>
            </a:r>
            <a:r>
              <a:rPr lang="en-US" dirty="0"/>
              <a:t> and the </a:t>
            </a:r>
            <a:r>
              <a:rPr lang="en-US" dirty="0" err="1"/>
              <a:t>partition_number</a:t>
            </a:r>
            <a:r>
              <a:rPr lang="en-US" dirty="0"/>
              <a:t> as parameters </a:t>
            </a:r>
          </a:p>
          <a:p>
            <a:r>
              <a:rPr lang="en-US" dirty="0"/>
              <a:t>Memory-optimized indexes do not appear in this DMV</a:t>
            </a:r>
          </a:p>
        </p:txBody>
      </p:sp>
      <p:sp>
        <p:nvSpPr>
          <p:cNvPr id="6" name="Rectangle 5">
            <a:extLst>
              <a:ext uri="{FF2B5EF4-FFF2-40B4-BE49-F238E27FC236}">
                <a16:creationId xmlns:a16="http://schemas.microsoft.com/office/drawing/2014/main" id="{52A792B6-1B28-444F-8A7C-2727FAFF8B02}"/>
              </a:ext>
            </a:extLst>
          </p:cNvPr>
          <p:cNvSpPr/>
          <p:nvPr/>
        </p:nvSpPr>
        <p:spPr>
          <a:xfrm>
            <a:off x="655636" y="3429000"/>
            <a:ext cx="10880725" cy="2642616"/>
          </a:xfrm>
          <a:prstGeom prst="rect">
            <a:avLst/>
          </a:prstGeom>
          <a:ln>
            <a:solidFill>
              <a:schemeClr val="accent1"/>
            </a:solidFill>
          </a:ln>
          <a:effectLst/>
        </p:spPr>
        <p:txBody>
          <a:bodyPr wrap="square">
            <a:no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latin typeface="Consolas" panose="020B0609020204030204" pitchFamily="49" charset="0"/>
              </a:rPr>
              <a:t>*</a:t>
            </a:r>
          </a:p>
          <a:p>
            <a:r>
              <a:rPr lang="en-US">
                <a:solidFill>
                  <a:srgbClr val="0000FF"/>
                </a:solidFill>
                <a:latin typeface="Consolas" panose="020B0609020204030204" pitchFamily="49" charset="0"/>
              </a:rPr>
              <a:t>FROM </a:t>
            </a:r>
            <a:r>
              <a:rPr lang="en-US">
                <a:latin typeface="Consolas" panose="020B0609020204030204" pitchFamily="49" charset="0"/>
              </a:rPr>
              <a:t>  </a:t>
            </a:r>
          </a:p>
          <a:p>
            <a:r>
              <a:rPr lang="en-US">
                <a:solidFill>
                  <a:schemeClr val="accent4"/>
                </a:solidFill>
                <a:latin typeface="Consolas" panose="020B0609020204030204" pitchFamily="49" charset="0"/>
              </a:rPr>
              <a:t>	SYS.DM_DB_INDEX_OPERATIONAL_STATS </a:t>
            </a:r>
            <a:r>
              <a:rPr lang="en-US">
                <a:latin typeface="Consolas" panose="020B0609020204030204" pitchFamily="49" charset="0"/>
              </a:rPr>
              <a:t>(NULL,NULL,NULL,NULL ) opsts</a:t>
            </a:r>
          </a:p>
          <a:p>
            <a:r>
              <a:rPr lang="en-US">
                <a:solidFill>
                  <a:schemeClr val="bg1">
                    <a:lumMod val="50000"/>
                  </a:schemeClr>
                </a:solidFill>
                <a:latin typeface="Consolas" panose="020B0609020204030204" pitchFamily="49" charset="0"/>
              </a:rPr>
              <a:t>	INNER JOIN </a:t>
            </a:r>
            <a:r>
              <a:rPr lang="en-US">
                <a:latin typeface="Consolas" panose="020B0609020204030204" pitchFamily="49" charset="0"/>
              </a:rPr>
              <a:t>SYS.INDEXES AS Indx</a:t>
            </a:r>
          </a:p>
          <a:p>
            <a:r>
              <a:rPr lang="en-US">
                <a:solidFill>
                  <a:srgbClr val="0A1FE4"/>
                </a:solidFill>
                <a:latin typeface="Consolas" panose="020B0609020204030204" pitchFamily="49" charset="0"/>
              </a:rPr>
              <a:t>		ON</a:t>
            </a:r>
            <a:r>
              <a:rPr lang="en-US">
                <a:latin typeface="Consolas" panose="020B0609020204030204" pitchFamily="49" charset="0"/>
              </a:rPr>
              <a:t> Indx.[OBJECT_ID] = opsts.[OBJECT_ID] </a:t>
            </a:r>
          </a:p>
          <a:p>
            <a:r>
              <a:rPr lang="en-US">
                <a:solidFill>
                  <a:schemeClr val="bg1">
                    <a:lumMod val="50000"/>
                  </a:schemeClr>
                </a:solidFill>
                <a:latin typeface="Consolas" panose="020B0609020204030204" pitchFamily="49" charset="0"/>
              </a:rPr>
              <a:t>		AND</a:t>
            </a:r>
            <a:r>
              <a:rPr lang="en-US">
                <a:latin typeface="Consolas" panose="020B0609020204030204" pitchFamily="49" charset="0"/>
              </a:rPr>
              <a:t> Indx.INDEX_ID = opsts.INDEX_ID </a:t>
            </a:r>
          </a:p>
          <a:p>
            <a:r>
              <a:rPr lang="en-US">
                <a:solidFill>
                  <a:srgbClr val="0A1FE4"/>
                </a:solidFill>
                <a:latin typeface="Consolas" panose="020B0609020204030204" pitchFamily="49" charset="0"/>
              </a:rPr>
              <a:t>WHERE</a:t>
            </a:r>
            <a:r>
              <a:rPr lang="en-US">
                <a:latin typeface="Consolas" panose="020B0609020204030204" pitchFamily="49" charset="0"/>
              </a:rPr>
              <a:t>  </a:t>
            </a:r>
          </a:p>
          <a:p>
            <a:r>
              <a:rPr lang="en-US">
                <a:solidFill>
                  <a:srgbClr val="9201FF"/>
                </a:solidFill>
                <a:latin typeface="Consolas" panose="020B0609020204030204" pitchFamily="49" charset="0"/>
              </a:rPr>
              <a:t>	OBJECTPROPERTY</a:t>
            </a:r>
            <a:r>
              <a:rPr lang="en-US">
                <a:latin typeface="Consolas" panose="020B0609020204030204" pitchFamily="49" charset="0"/>
              </a:rPr>
              <a:t>(opsts.[</a:t>
            </a:r>
            <a:r>
              <a:rPr lang="en-US">
                <a:solidFill>
                  <a:srgbClr val="9201FF"/>
                </a:solidFill>
                <a:latin typeface="Consolas" panose="020B0609020204030204" pitchFamily="49" charset="0"/>
              </a:rPr>
              <a:t>OBJECT_ID</a:t>
            </a:r>
            <a:r>
              <a:rPr lang="en-US">
                <a:latin typeface="Consolas" panose="020B0609020204030204" pitchFamily="49" charset="0"/>
              </a:rPr>
              <a:t>],'IsUserTable') = 1</a:t>
            </a:r>
            <a:endParaRPr lang="en-US" sz="1800">
              <a:solidFill>
                <a:prstClr val="black"/>
              </a:solidFill>
              <a:latin typeface="Consolas" panose="020B0609020204030204" pitchFamily="49" charset="0"/>
            </a:endParaRPr>
          </a:p>
        </p:txBody>
      </p:sp>
    </p:spTree>
    <p:extLst>
      <p:ext uri="{BB962C8B-B14F-4D97-AF65-F5344CB8AC3E}">
        <p14:creationId xmlns:p14="http://schemas.microsoft.com/office/powerpoint/2010/main" val="16837443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b="1" dirty="0" err="1">
                <a:solidFill>
                  <a:srgbClr val="107C10"/>
                </a:solidFill>
              </a:rPr>
              <a:t>sys.dm_db_index_physical_stats</a:t>
            </a:r>
            <a:r>
              <a:rPr lang="en-US" b="1" dirty="0">
                <a:solidFill>
                  <a:srgbClr val="107C10"/>
                </a:solidFill>
              </a:rPr>
              <a:t> </a:t>
            </a:r>
            <a:endParaRPr lang="en-US" dirty="0">
              <a:solidFill>
                <a:srgbClr val="107C10"/>
              </a:solidFill>
            </a:endParaRP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6" y="1176886"/>
            <a:ext cx="10880726" cy="4663502"/>
          </a:xfrm>
        </p:spPr>
        <p:txBody>
          <a:bodyPr/>
          <a:lstStyle/>
          <a:p>
            <a:r>
              <a:rPr lang="en-US" b="0" i="0" dirty="0">
                <a:effectLst/>
                <a:latin typeface="Segoe UI" panose="020B0502040204020203" pitchFamily="34" charset="0"/>
              </a:rPr>
              <a:t>Returns size and fragmentation information for the data and indexes of the specified table or view in SQL Server.</a:t>
            </a:r>
          </a:p>
          <a:p>
            <a:r>
              <a:rPr lang="en-US" dirty="0"/>
              <a:t>Takes </a:t>
            </a:r>
            <a:r>
              <a:rPr lang="en-US" dirty="0" err="1"/>
              <a:t>database_id</a:t>
            </a:r>
            <a:r>
              <a:rPr lang="en-US" dirty="0"/>
              <a:t>, the </a:t>
            </a:r>
            <a:r>
              <a:rPr lang="en-US" dirty="0" err="1"/>
              <a:t>object_id</a:t>
            </a:r>
            <a:r>
              <a:rPr lang="en-US" dirty="0"/>
              <a:t>, the </a:t>
            </a:r>
            <a:r>
              <a:rPr lang="en-US" dirty="0" err="1"/>
              <a:t>index_id</a:t>
            </a:r>
            <a:r>
              <a:rPr lang="en-US" dirty="0"/>
              <a:t> and the </a:t>
            </a:r>
            <a:r>
              <a:rPr lang="en-US" dirty="0" err="1"/>
              <a:t>partition_number</a:t>
            </a:r>
            <a:r>
              <a:rPr lang="en-US" dirty="0"/>
              <a:t> as parameters </a:t>
            </a:r>
          </a:p>
          <a:p>
            <a:r>
              <a:rPr lang="en-US" dirty="0"/>
              <a:t>Memory-optimized indexes do not appear in this DMV</a:t>
            </a:r>
          </a:p>
        </p:txBody>
      </p:sp>
      <p:sp>
        <p:nvSpPr>
          <p:cNvPr id="6" name="Rectangle 5">
            <a:extLst>
              <a:ext uri="{FF2B5EF4-FFF2-40B4-BE49-F238E27FC236}">
                <a16:creationId xmlns:a16="http://schemas.microsoft.com/office/drawing/2014/main" id="{52A792B6-1B28-444F-8A7C-2727FAFF8B02}"/>
              </a:ext>
            </a:extLst>
          </p:cNvPr>
          <p:cNvSpPr/>
          <p:nvPr/>
        </p:nvSpPr>
        <p:spPr>
          <a:xfrm>
            <a:off x="655636" y="3429000"/>
            <a:ext cx="11073909" cy="2806569"/>
          </a:xfrm>
          <a:prstGeom prst="rect">
            <a:avLst/>
          </a:prstGeom>
          <a:ln>
            <a:solidFill>
              <a:schemeClr val="accent1"/>
            </a:solidFill>
          </a:ln>
          <a:effectLst/>
        </p:spPr>
        <p:txBody>
          <a:bodyPr wrap="square">
            <a:noAutofit/>
          </a:bodyPr>
          <a:lstStyle/>
          <a:p>
            <a:r>
              <a:rPr lang="en-US" sz="1800" dirty="0">
                <a:solidFill>
                  <a:srgbClr val="0000FF"/>
                </a:solidFill>
                <a:latin typeface="Consolas" panose="020B0609020204030204" pitchFamily="49" charset="0"/>
              </a:rPr>
              <a:t>SELECT</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OBJECT_SCHEMA_NAME</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chema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FF"/>
                </a:solidFill>
                <a:latin typeface="Consolas" panose="020B0609020204030204" pitchFamily="49" charset="0"/>
              </a:rPr>
              <a:t>OBJECT_NAME</a:t>
            </a:r>
            <a:r>
              <a:rPr lang="en-US" sz="1800" dirty="0">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object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Table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I</a:t>
            </a:r>
            <a:r>
              <a:rPr lang="en-US" sz="1800" dirty="0">
                <a:solidFill>
                  <a:srgbClr val="808080"/>
                </a:solidFill>
                <a:latin typeface="Consolas" panose="020B0609020204030204" pitchFamily="49" charset="0"/>
              </a:rPr>
              <a:t>.</a:t>
            </a:r>
            <a:r>
              <a:rPr lang="en-US" sz="1800" dirty="0">
                <a:solidFill>
                  <a:srgbClr val="0000FF"/>
                </a:solidFill>
                <a:latin typeface="Consolas" panose="020B0609020204030204" pitchFamily="49" charset="0"/>
              </a:rPr>
              <a:t>name</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Index_I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rtition_number</a:t>
            </a:r>
            <a:r>
              <a:rPr lang="en-US" sz="1800" dirty="0">
                <a:solidFill>
                  <a:srgbClr val="80808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avg_fragmentation_in_percent</a:t>
            </a:r>
            <a:r>
              <a:rPr lang="en-US" sz="1800" dirty="0">
                <a:solidFill>
                  <a:srgbClr val="808080"/>
                </a:solidFill>
                <a:latin typeface="Consolas" panose="020B0609020204030204" pitchFamily="49" charset="0"/>
              </a:rPr>
              <a:t>,</a:t>
            </a:r>
            <a:endParaRPr lang="en-US" sz="1800" dirty="0">
              <a:solidFill>
                <a:srgbClr val="000000"/>
              </a:solidFill>
              <a:latin typeface="Consolas" panose="020B0609020204030204" pitchFamily="49" charset="0"/>
            </a:endParaRPr>
          </a:p>
          <a:p>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page_count</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avg_page_space_used_in_percent</a:t>
            </a:r>
            <a:endParaRPr lang="en-US" sz="1800" dirty="0">
              <a:solidFill>
                <a:srgbClr val="000000"/>
              </a:solidFill>
              <a:latin typeface="Consolas" panose="020B0609020204030204" pitchFamily="49" charset="0"/>
            </a:endParaRPr>
          </a:p>
          <a:p>
            <a:r>
              <a:rPr lang="en-US" sz="1800" dirty="0">
                <a:solidFill>
                  <a:srgbClr val="0000FF"/>
                </a:solidFill>
                <a:latin typeface="Consolas" panose="020B0609020204030204" pitchFamily="49" charset="0"/>
              </a:rPr>
              <a:t>FROM</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indexes</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I</a:t>
            </a:r>
          </a:p>
          <a:p>
            <a:r>
              <a:rPr lang="en-US" sz="1800" dirty="0">
                <a:solidFill>
                  <a:srgbClr val="808080"/>
                </a:solidFill>
                <a:latin typeface="Consolas" panose="020B0609020204030204" pitchFamily="49" charset="0"/>
              </a:rPr>
              <a:t>INNER</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JOIN</a:t>
            </a:r>
            <a:r>
              <a:rPr lang="en-US" sz="1800" dirty="0">
                <a:solidFill>
                  <a:srgbClr val="000000"/>
                </a:solidFill>
                <a:latin typeface="Consolas" panose="020B0609020204030204" pitchFamily="49" charset="0"/>
              </a:rPr>
              <a:t> </a:t>
            </a:r>
            <a:r>
              <a:rPr lang="en-US" sz="1800" dirty="0" err="1">
                <a:solidFill>
                  <a:srgbClr val="00FF00"/>
                </a:solidFill>
                <a:latin typeface="Consolas" panose="020B0609020204030204" pitchFamily="49" charset="0"/>
              </a:rPr>
              <a:t>sys</a:t>
            </a:r>
            <a:r>
              <a:rPr lang="en-US" sz="1800" dirty="0" err="1">
                <a:solidFill>
                  <a:srgbClr val="808080"/>
                </a:solidFill>
                <a:latin typeface="Consolas" panose="020B0609020204030204" pitchFamily="49" charset="0"/>
              </a:rPr>
              <a:t>.</a:t>
            </a:r>
            <a:r>
              <a:rPr lang="en-US" sz="1800" dirty="0" err="1">
                <a:solidFill>
                  <a:srgbClr val="00FF00"/>
                </a:solidFill>
                <a:latin typeface="Consolas" panose="020B0609020204030204" pitchFamily="49" charset="0"/>
              </a:rPr>
              <a:t>dm_db_index_physical_stats</a:t>
            </a:r>
            <a:r>
              <a:rPr lang="en-US" sz="1800" dirty="0">
                <a:solidFill>
                  <a:srgbClr val="808080"/>
                </a:solidFill>
                <a:latin typeface="Consolas" panose="020B0609020204030204" pitchFamily="49" charset="0"/>
              </a:rPr>
              <a:t>(</a:t>
            </a:r>
            <a:r>
              <a:rPr lang="en-US" sz="1800" dirty="0">
                <a:solidFill>
                  <a:srgbClr val="FF00FF"/>
                </a:solidFill>
                <a:latin typeface="Consolas" panose="020B0609020204030204" pitchFamily="49" charset="0"/>
              </a:rPr>
              <a:t>DB_I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NULL,</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Limited'</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as</a:t>
            </a:r>
            <a:r>
              <a:rPr lang="en-US" sz="1800" dirty="0">
                <a:solidFill>
                  <a:srgbClr val="000000"/>
                </a:solidFill>
                <a:latin typeface="Consolas" panose="020B0609020204030204" pitchFamily="49" charset="0"/>
              </a:rPr>
              <a:t> IPS</a:t>
            </a:r>
          </a:p>
          <a:p>
            <a:r>
              <a:rPr lang="en-US" sz="1800" dirty="0">
                <a:solidFill>
                  <a:srgbClr val="0000FF"/>
                </a:solidFill>
                <a:latin typeface="Consolas" panose="020B0609020204030204" pitchFamily="49" charset="0"/>
              </a:rPr>
              <a:t>ON</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FF00FF"/>
                </a:solidFill>
                <a:latin typeface="Consolas" panose="020B0609020204030204" pitchFamily="49" charset="0"/>
              </a:rPr>
              <a:t>object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IPS</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FF"/>
                </a:solidFill>
                <a:latin typeface="Consolas" panose="020B0609020204030204" pitchFamily="49" charset="0"/>
              </a:rPr>
              <a:t>object_id</a:t>
            </a:r>
            <a:r>
              <a:rPr lang="en-US" sz="1800" dirty="0">
                <a:solidFill>
                  <a:srgbClr val="000000"/>
                </a:solidFill>
                <a:latin typeface="Consolas" panose="020B0609020204030204" pitchFamily="49" charset="0"/>
              </a:rPr>
              <a:t> </a:t>
            </a:r>
          </a:p>
          <a:p>
            <a:r>
              <a:rPr lang="en-US" sz="1800" dirty="0">
                <a:solidFill>
                  <a:srgbClr val="808080"/>
                </a:solidFill>
                <a:latin typeface="Consolas" panose="020B0609020204030204" pitchFamily="49" charset="0"/>
              </a:rPr>
              <a:t>AND</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ndex_id</a:t>
            </a:r>
            <a:r>
              <a:rPr lang="en-US" sz="1800" dirty="0">
                <a:solidFill>
                  <a:srgbClr val="000000"/>
                </a:solidFill>
                <a:latin typeface="Consolas" panose="020B0609020204030204" pitchFamily="49" charset="0"/>
              </a:rPr>
              <a:t> </a:t>
            </a:r>
            <a:r>
              <a:rPr lang="en-US" sz="1800" dirty="0">
                <a:solidFill>
                  <a:srgbClr val="808080"/>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PS</a:t>
            </a:r>
            <a:r>
              <a:rPr lang="en-US" sz="1800" dirty="0" err="1">
                <a:solidFill>
                  <a:srgbClr val="808080"/>
                </a:solidFill>
                <a:latin typeface="Consolas" panose="020B0609020204030204" pitchFamily="49" charset="0"/>
              </a:rPr>
              <a:t>.</a:t>
            </a:r>
            <a:r>
              <a:rPr lang="en-US" sz="1800" dirty="0" err="1">
                <a:solidFill>
                  <a:srgbClr val="000000"/>
                </a:solidFill>
                <a:latin typeface="Consolas" panose="020B0609020204030204" pitchFamily="49" charset="0"/>
              </a:rPr>
              <a:t>index_id</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WHERE </a:t>
            </a:r>
            <a:r>
              <a:rPr lang="en-US" sz="1800" dirty="0" err="1">
                <a:solidFill>
                  <a:srgbClr val="008000"/>
                </a:solidFill>
                <a:latin typeface="Consolas" panose="020B0609020204030204" pitchFamily="49" charset="0"/>
              </a:rPr>
              <a:t>IPS.avg_fragmentation_in_percent</a:t>
            </a:r>
            <a:r>
              <a:rPr lang="en-US" sz="1800" dirty="0">
                <a:solidFill>
                  <a:srgbClr val="008000"/>
                </a:solidFill>
                <a:latin typeface="Consolas" panose="020B0609020204030204" pitchFamily="49" charset="0"/>
              </a:rPr>
              <a:t> &gt;30</a:t>
            </a:r>
            <a:endParaRPr lang="en-US" sz="1800" dirty="0">
              <a:solidFill>
                <a:srgbClr val="000000"/>
              </a:solidFill>
              <a:latin typeface="Consolas" panose="020B0609020204030204" pitchFamily="49" charset="0"/>
            </a:endParaRPr>
          </a:p>
          <a:p>
            <a:r>
              <a:rPr lang="en-US" sz="1800" dirty="0">
                <a:solidFill>
                  <a:srgbClr val="008000"/>
                </a:solidFill>
                <a:latin typeface="Consolas" panose="020B0609020204030204" pitchFamily="49" charset="0"/>
              </a:rPr>
              <a:t>--AND </a:t>
            </a:r>
            <a:r>
              <a:rPr lang="en-US" sz="1800" dirty="0" err="1">
                <a:solidFill>
                  <a:srgbClr val="008000"/>
                </a:solidFill>
                <a:latin typeface="Consolas" panose="020B0609020204030204" pitchFamily="49" charset="0"/>
              </a:rPr>
              <a:t>IPS.page_count</a:t>
            </a:r>
            <a:r>
              <a:rPr lang="en-US" sz="1800" dirty="0">
                <a:solidFill>
                  <a:srgbClr val="008000"/>
                </a:solidFill>
                <a:latin typeface="Consolas" panose="020B0609020204030204" pitchFamily="49" charset="0"/>
              </a:rPr>
              <a:t> &gt;1000</a:t>
            </a:r>
            <a:endParaRPr lang="en-US" sz="1800" dirty="0">
              <a:solidFill>
                <a:prstClr val="black"/>
              </a:solidFill>
              <a:latin typeface="Consolas" panose="020B0609020204030204" pitchFamily="49" charset="0"/>
            </a:endParaRPr>
          </a:p>
        </p:txBody>
      </p:sp>
    </p:spTree>
    <p:extLst>
      <p:ext uri="{BB962C8B-B14F-4D97-AF65-F5344CB8AC3E}">
        <p14:creationId xmlns:p14="http://schemas.microsoft.com/office/powerpoint/2010/main" val="31866965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Fragmentation</a:t>
            </a:r>
          </a:p>
        </p:txBody>
      </p:sp>
      <p:sp>
        <p:nvSpPr>
          <p:cNvPr id="5" name="Subtitle 4">
            <a:extLst>
              <a:ext uri="{FF2B5EF4-FFF2-40B4-BE49-F238E27FC236}">
                <a16:creationId xmlns:a16="http://schemas.microsoft.com/office/drawing/2014/main" id="{348671D4-9303-4AFE-9143-83F44EEE4B3E}"/>
              </a:ext>
            </a:extLst>
          </p:cNvPr>
          <p:cNvSpPr>
            <a:spLocks noGrp="1"/>
          </p:cNvSpPr>
          <p:nvPr>
            <p:ph type="subTitle" idx="1"/>
          </p:nvPr>
        </p:nvSpPr>
        <p:spPr/>
        <p:txBody>
          <a:bodyPr>
            <a:normAutofit fontScale="92500"/>
          </a:bodyPr>
          <a:lstStyle/>
          <a:p>
            <a:r>
              <a:rPr lang="en-US" dirty="0"/>
              <a:t>A fragmented table/Index is when some of its data pages point to pages that are not in sequence.</a:t>
            </a:r>
          </a:p>
        </p:txBody>
      </p:sp>
      <p:graphicFrame>
        <p:nvGraphicFramePr>
          <p:cNvPr id="6" name="Content Placeholder 3">
            <a:extLst>
              <a:ext uri="{FF2B5EF4-FFF2-40B4-BE49-F238E27FC236}">
                <a16:creationId xmlns:a16="http://schemas.microsoft.com/office/drawing/2014/main" id="{5612EB1D-0D08-4DC1-A9CE-1B591A4F97E6}"/>
              </a:ext>
            </a:extLst>
          </p:cNvPr>
          <p:cNvGraphicFramePr>
            <a:graphicFrameLocks noGrp="1"/>
          </p:cNvGraphicFramePr>
          <p:nvPr>
            <p:ph sz="quarter" idx="13"/>
            <p:extLst>
              <p:ext uri="{D42A27DB-BD31-4B8C-83A1-F6EECF244321}">
                <p14:modId xmlns:p14="http://schemas.microsoft.com/office/powerpoint/2010/main" val="756131464"/>
              </p:ext>
            </p:extLst>
          </p:nvPr>
        </p:nvGraphicFramePr>
        <p:xfrm>
          <a:off x="2958451" y="2183258"/>
          <a:ext cx="6275098" cy="3888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descr="Presentation with Checklist">
            <a:extLst>
              <a:ext uri="{FF2B5EF4-FFF2-40B4-BE49-F238E27FC236}">
                <a16:creationId xmlns:a16="http://schemas.microsoft.com/office/drawing/2014/main" id="{8FE072A3-BE3F-4104-9085-F3383EBCDF60}"/>
              </a:ext>
            </a:extLst>
          </p:cNvPr>
          <p:cNvSpPr/>
          <p:nvPr/>
        </p:nvSpPr>
        <p:spPr>
          <a:xfrm>
            <a:off x="3927167" y="1408029"/>
            <a:ext cx="796727" cy="669854"/>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sp>
        <p:nvSpPr>
          <p:cNvPr id="10" name="Rectangle 9" descr="Maximize">
            <a:extLst>
              <a:ext uri="{FF2B5EF4-FFF2-40B4-BE49-F238E27FC236}">
                <a16:creationId xmlns:a16="http://schemas.microsoft.com/office/drawing/2014/main" id="{503C4E2A-0F79-487E-9B1E-24A1C9FF7887}"/>
              </a:ext>
            </a:extLst>
          </p:cNvPr>
          <p:cNvSpPr/>
          <p:nvPr/>
        </p:nvSpPr>
        <p:spPr>
          <a:xfrm>
            <a:off x="7533990" y="1616218"/>
            <a:ext cx="546167" cy="461665"/>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spTree>
    <p:extLst>
      <p:ext uri="{BB962C8B-B14F-4D97-AF65-F5344CB8AC3E}">
        <p14:creationId xmlns:p14="http://schemas.microsoft.com/office/powerpoint/2010/main" val="33016926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Page Splits</a:t>
            </a:r>
          </a:p>
        </p:txBody>
      </p:sp>
      <p:pic>
        <p:nvPicPr>
          <p:cNvPr id="7" name="Picture 2">
            <a:extLst>
              <a:ext uri="{FF2B5EF4-FFF2-40B4-BE49-F238E27FC236}">
                <a16:creationId xmlns:a16="http://schemas.microsoft.com/office/drawing/2014/main" id="{C89038E8-4C91-4844-9D94-B2693C6E7C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5474" y="1344706"/>
            <a:ext cx="8091431" cy="48516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84517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differences between heap and clustered objects.</a:t>
            </a:r>
          </a:p>
          <a:p>
            <a:r>
              <a:rPr lang="en-US" dirty="0"/>
              <a:t>Describe B-Trees, and why they are beneficial.</a:t>
            </a:r>
          </a:p>
          <a:p>
            <a:r>
              <a:rPr lang="en-US" dirty="0"/>
              <a:t>Understand the differences between clustered and non-clustered indexes.</a:t>
            </a:r>
          </a:p>
          <a:p>
            <a:r>
              <a:rPr lang="en-US" dirty="0"/>
              <a:t>Describe the different methods by which data structures are accessed.</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1" name="Rounded Rectangle 39">
            <a:extLst>
              <a:ext uri="{FF2B5EF4-FFF2-40B4-BE49-F238E27FC236}">
                <a16:creationId xmlns:a16="http://schemas.microsoft.com/office/drawing/2014/main" id="{0BF4BCC7-8209-4A2F-BBC7-21D2EE65EC96}"/>
              </a:ext>
            </a:extLst>
          </p:cNvPr>
          <p:cNvSpPr/>
          <p:nvPr/>
        </p:nvSpPr>
        <p:spPr>
          <a:xfrm rot="5400000">
            <a:off x="7072877" y="-63731"/>
            <a:ext cx="1531288" cy="641587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8">
              <a:defRPr/>
            </a:pPr>
            <a:endParaRPr lang="en-US" sz="2100" kern="0" dirty="0">
              <a:solidFill>
                <a:prstClr val="white"/>
              </a:solidFill>
              <a:latin typeface="Calibri" panose="020F0502020204030204" pitchFamily="34" charset="0"/>
            </a:endParaRPr>
          </a:p>
        </p:txBody>
      </p:sp>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a:prstGeom prst="rect">
            <a:avLst/>
          </a:prstGeom>
          <a:ln>
            <a:noFill/>
          </a:ln>
        </p:spPr>
        <p:txBody>
          <a:bodyPr wrap="square" anchor="t">
            <a:normAutofit/>
          </a:bodyPr>
          <a:lstStyle/>
          <a:p>
            <a:r>
              <a:rPr lang="en-US" dirty="0"/>
              <a:t>Read-Ahead Scans</a:t>
            </a:r>
          </a:p>
        </p:txBody>
      </p:sp>
      <p:grpSp>
        <p:nvGrpSpPr>
          <p:cNvPr id="116" name="Group 115">
            <a:extLst>
              <a:ext uri="{FF2B5EF4-FFF2-40B4-BE49-F238E27FC236}">
                <a16:creationId xmlns:a16="http://schemas.microsoft.com/office/drawing/2014/main" id="{624DCC4F-469A-450F-AB33-5FE2ED637235}"/>
              </a:ext>
            </a:extLst>
          </p:cNvPr>
          <p:cNvGrpSpPr/>
          <p:nvPr/>
        </p:nvGrpSpPr>
        <p:grpSpPr>
          <a:xfrm>
            <a:off x="794454" y="2490392"/>
            <a:ext cx="1087101" cy="1282822"/>
            <a:chOff x="655638" y="3429000"/>
            <a:chExt cx="2332544" cy="1132950"/>
          </a:xfrm>
        </p:grpSpPr>
        <p:sp>
          <p:nvSpPr>
            <p:cNvPr id="93" name="Rounded Rectangle 7">
              <a:extLst>
                <a:ext uri="{FF2B5EF4-FFF2-40B4-BE49-F238E27FC236}">
                  <a16:creationId xmlns:a16="http://schemas.microsoft.com/office/drawing/2014/main" id="{946EF957-D372-45DF-924E-032352B09D05}"/>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Rectangle 94">
              <a:extLst>
                <a:ext uri="{FF2B5EF4-FFF2-40B4-BE49-F238E27FC236}">
                  <a16:creationId xmlns:a16="http://schemas.microsoft.com/office/drawing/2014/main" id="{43C97B0F-1CA5-4D0A-BF75-3F4CD547D278}"/>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1</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sp>
        <p:nvSpPr>
          <p:cNvPr id="193" name="Right Brace 192">
            <a:extLst>
              <a:ext uri="{FF2B5EF4-FFF2-40B4-BE49-F238E27FC236}">
                <a16:creationId xmlns:a16="http://schemas.microsoft.com/office/drawing/2014/main" id="{86D6CB44-2FA8-418A-BE45-6C4981465181}"/>
              </a:ext>
            </a:extLst>
          </p:cNvPr>
          <p:cNvSpPr/>
          <p:nvPr/>
        </p:nvSpPr>
        <p:spPr>
          <a:xfrm rot="5400000">
            <a:off x="2197914" y="-106657"/>
            <a:ext cx="827216" cy="4038123"/>
          </a:xfrm>
          <a:prstGeom prst="rightBrace">
            <a:avLst/>
          </a:prstGeom>
          <a:noFill/>
          <a:ln w="76200" cap="flat" cmpd="sng" algn="ctr">
            <a:solidFill>
              <a:srgbClr val="2098D5">
                <a:lumMod val="50000"/>
              </a:srgbClr>
            </a:solidFill>
            <a:prstDash val="solid"/>
          </a:ln>
          <a:effectLst/>
        </p:spPr>
        <p:txBody>
          <a:bodyPr rtlCol="0" anchor="ctr"/>
          <a:lstStyle/>
          <a:p>
            <a:pPr algn="ctr" defTabSz="896386">
              <a:defRPr/>
            </a:pPr>
            <a:endParaRPr lang="en-US" sz="1765" kern="0">
              <a:solidFill>
                <a:prstClr val="black"/>
              </a:solidFill>
              <a:latin typeface="Segoe UI"/>
            </a:endParaRPr>
          </a:p>
        </p:txBody>
      </p:sp>
      <p:sp>
        <p:nvSpPr>
          <p:cNvPr id="194" name="Title 1">
            <a:extLst>
              <a:ext uri="{FF2B5EF4-FFF2-40B4-BE49-F238E27FC236}">
                <a16:creationId xmlns:a16="http://schemas.microsoft.com/office/drawing/2014/main" id="{2C6258A5-91F5-4638-89C0-8C132A1600F6}"/>
              </a:ext>
            </a:extLst>
          </p:cNvPr>
          <p:cNvSpPr txBox="1">
            <a:spLocks/>
          </p:cNvSpPr>
          <p:nvPr/>
        </p:nvSpPr>
        <p:spPr>
          <a:xfrm>
            <a:off x="1816119" y="1356019"/>
            <a:ext cx="2221053" cy="461665"/>
          </a:xfrm>
          <a:prstGeom prst="rect">
            <a:avLst/>
          </a:prstGeom>
          <a:solidFill>
            <a:schemeClr val="bg1"/>
          </a:solidFill>
          <a:ln>
            <a:noFill/>
          </a:ln>
        </p:spPr>
        <p:txBody>
          <a:bodyPr vert="horz" wrap="square" lIns="0" tIns="0" rIns="0" bIns="0" rtlCol="0" anchor="t">
            <a:norm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sz="2400" dirty="0"/>
              <a:t>Read Pages</a:t>
            </a:r>
          </a:p>
        </p:txBody>
      </p:sp>
      <p:sp>
        <p:nvSpPr>
          <p:cNvPr id="196" name="Right Brace 195">
            <a:extLst>
              <a:ext uri="{FF2B5EF4-FFF2-40B4-BE49-F238E27FC236}">
                <a16:creationId xmlns:a16="http://schemas.microsoft.com/office/drawing/2014/main" id="{A75E0387-FFEC-46F7-947F-0694E2B84C21}"/>
              </a:ext>
            </a:extLst>
          </p:cNvPr>
          <p:cNvSpPr/>
          <p:nvPr/>
        </p:nvSpPr>
        <p:spPr>
          <a:xfrm rot="5400000">
            <a:off x="7288862" y="-106657"/>
            <a:ext cx="827216" cy="4038123"/>
          </a:xfrm>
          <a:prstGeom prst="rightBrace">
            <a:avLst/>
          </a:prstGeom>
          <a:noFill/>
          <a:ln w="76200" cap="flat" cmpd="sng" algn="ctr">
            <a:solidFill>
              <a:srgbClr val="2098D5">
                <a:lumMod val="50000"/>
              </a:srgbClr>
            </a:solidFill>
            <a:prstDash val="solid"/>
          </a:ln>
          <a:effectLst/>
        </p:spPr>
        <p:txBody>
          <a:bodyPr rtlCol="0" anchor="ctr"/>
          <a:lstStyle/>
          <a:p>
            <a:pPr algn="ctr" defTabSz="896386">
              <a:defRPr/>
            </a:pPr>
            <a:endParaRPr lang="en-US" sz="1765" kern="0">
              <a:solidFill>
                <a:prstClr val="black"/>
              </a:solidFill>
              <a:latin typeface="Segoe UI"/>
            </a:endParaRPr>
          </a:p>
        </p:txBody>
      </p:sp>
      <p:sp>
        <p:nvSpPr>
          <p:cNvPr id="198" name="Title 1">
            <a:extLst>
              <a:ext uri="{FF2B5EF4-FFF2-40B4-BE49-F238E27FC236}">
                <a16:creationId xmlns:a16="http://schemas.microsoft.com/office/drawing/2014/main" id="{40DF79CA-C032-438A-B918-8E7430FB80F1}"/>
              </a:ext>
            </a:extLst>
          </p:cNvPr>
          <p:cNvSpPr txBox="1">
            <a:spLocks/>
          </p:cNvSpPr>
          <p:nvPr/>
        </p:nvSpPr>
        <p:spPr>
          <a:xfrm>
            <a:off x="6800650" y="1356019"/>
            <a:ext cx="1670687" cy="461665"/>
          </a:xfrm>
          <a:prstGeom prst="rect">
            <a:avLst/>
          </a:prstGeom>
          <a:solidFill>
            <a:schemeClr val="bg1"/>
          </a:solidFill>
          <a:ln>
            <a:noFill/>
          </a:ln>
        </p:spPr>
        <p:txBody>
          <a:bodyPr vert="horz" wrap="square" lIns="0" tIns="0" rIns="0" bIns="0" rtlCol="0" anchor="t">
            <a:normAutofit/>
          </a:bodyPr>
          <a:lstStyle>
            <a:lvl1pPr algn="l" defTabSz="932742" rtl="0" eaLnBrk="1" latinLnBrk="0" hangingPunct="1">
              <a:lnSpc>
                <a:spcPts val="3620"/>
              </a:lnSpc>
              <a:spcBef>
                <a:spcPct val="0"/>
              </a:spcBef>
              <a:buNone/>
              <a:defRPr lang="en-GB" sz="3200" b="0" kern="1200" cap="none" spc="-50" baseline="0">
                <a:ln w="3175">
                  <a:noFill/>
                </a:ln>
                <a:solidFill>
                  <a:schemeClr val="tx1"/>
                </a:solidFill>
                <a:effectLst/>
                <a:latin typeface="+mj-lt"/>
                <a:ea typeface="+mn-ea"/>
                <a:cs typeface="Segoe UI" pitchFamily="34" charset="0"/>
              </a:defRPr>
            </a:lvl1pPr>
          </a:lstStyle>
          <a:p>
            <a:r>
              <a:rPr lang="en-US" sz="2400" dirty="0"/>
              <a:t>Read-Ahead</a:t>
            </a:r>
          </a:p>
        </p:txBody>
      </p:sp>
      <p:sp>
        <p:nvSpPr>
          <p:cNvPr id="199" name="Rectangle 198">
            <a:extLst>
              <a:ext uri="{FF2B5EF4-FFF2-40B4-BE49-F238E27FC236}">
                <a16:creationId xmlns:a16="http://schemas.microsoft.com/office/drawing/2014/main" id="{8317B01F-F5D2-4E25-9A61-22EFC28EB4D9}"/>
              </a:ext>
            </a:extLst>
          </p:cNvPr>
          <p:cNvSpPr/>
          <p:nvPr/>
        </p:nvSpPr>
        <p:spPr bwMode="auto">
          <a:xfrm>
            <a:off x="977615" y="4160886"/>
            <a:ext cx="10068843" cy="10089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342900" indent="-342900" algn="l" defTabSz="932472" fontAlgn="base">
              <a:spcBef>
                <a:spcPct val="0"/>
              </a:spcBef>
              <a:spcAft>
                <a:spcPct val="0"/>
              </a:spcAft>
              <a:buFont typeface="Arial" panose="020B0604020202020204" pitchFamily="34" charset="0"/>
              <a:buChar char="•"/>
            </a:pPr>
            <a:r>
              <a:rPr lang="en-US" sz="2400" b="0" i="0" dirty="0">
                <a:solidFill>
                  <a:schemeClr val="dk1"/>
                </a:solidFill>
                <a:effectLst/>
                <a:latin typeface="Segoe UI" panose="020B0502040204020203" pitchFamily="34" charset="0"/>
              </a:rPr>
              <a:t>Read-ahead anticipates the data and index pages needed to fulfill a query execution plan and brings the pages into the buffer cache before they are used by the query.</a:t>
            </a:r>
          </a:p>
          <a:p>
            <a:pPr marL="342900" indent="-342900" algn="l" defTabSz="932472" fontAlgn="base">
              <a:spcBef>
                <a:spcPct val="0"/>
              </a:spcBef>
              <a:spcAft>
                <a:spcPct val="0"/>
              </a:spcAft>
              <a:buFont typeface="Arial" panose="020B0604020202020204" pitchFamily="34" charset="0"/>
              <a:buChar char="•"/>
            </a:pPr>
            <a:r>
              <a:rPr lang="en-US" sz="2400" b="0" i="0" dirty="0">
                <a:solidFill>
                  <a:schemeClr val="dk1"/>
                </a:solidFill>
                <a:effectLst/>
                <a:latin typeface="Segoe UI" panose="020B0502040204020203" pitchFamily="34" charset="0"/>
              </a:rPr>
              <a:t>The read-ahead mechanism allows the Database Engine to read up to 64 contiguous pages (512KB) from one file.</a:t>
            </a:r>
            <a:endParaRPr lang="en-US" sz="2400" dirty="0">
              <a:solidFill>
                <a:schemeClr val="dk1"/>
              </a:solidFill>
              <a:ea typeface="Segoe UI" pitchFamily="34" charset="0"/>
              <a:cs typeface="Segoe UI" pitchFamily="34" charset="0"/>
            </a:endParaRPr>
          </a:p>
        </p:txBody>
      </p:sp>
      <p:grpSp>
        <p:nvGrpSpPr>
          <p:cNvPr id="200" name="Group 199">
            <a:extLst>
              <a:ext uri="{FF2B5EF4-FFF2-40B4-BE49-F238E27FC236}">
                <a16:creationId xmlns:a16="http://schemas.microsoft.com/office/drawing/2014/main" id="{47A4916E-8B63-43D3-AEBF-B8FBE2B2F3A9}"/>
              </a:ext>
            </a:extLst>
          </p:cNvPr>
          <p:cNvGrpSpPr/>
          <p:nvPr/>
        </p:nvGrpSpPr>
        <p:grpSpPr>
          <a:xfrm>
            <a:off x="2076033" y="2490392"/>
            <a:ext cx="1087101" cy="1282822"/>
            <a:chOff x="655638" y="3429000"/>
            <a:chExt cx="2332544" cy="1132950"/>
          </a:xfrm>
        </p:grpSpPr>
        <p:sp>
          <p:nvSpPr>
            <p:cNvPr id="201" name="Rounded Rectangle 7">
              <a:extLst>
                <a:ext uri="{FF2B5EF4-FFF2-40B4-BE49-F238E27FC236}">
                  <a16:creationId xmlns:a16="http://schemas.microsoft.com/office/drawing/2014/main" id="{80613CBA-ECA1-4EA5-94DE-AF679AA88797}"/>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2" name="Rectangle 201">
              <a:extLst>
                <a:ext uri="{FF2B5EF4-FFF2-40B4-BE49-F238E27FC236}">
                  <a16:creationId xmlns:a16="http://schemas.microsoft.com/office/drawing/2014/main" id="{D2CA9C3C-FF3F-43B6-BC5F-50567F59504B}"/>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2</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03" name="Group 202">
            <a:extLst>
              <a:ext uri="{FF2B5EF4-FFF2-40B4-BE49-F238E27FC236}">
                <a16:creationId xmlns:a16="http://schemas.microsoft.com/office/drawing/2014/main" id="{B46FD44F-2C26-4A69-BF0E-E0848E10B8CB}"/>
              </a:ext>
            </a:extLst>
          </p:cNvPr>
          <p:cNvGrpSpPr/>
          <p:nvPr/>
        </p:nvGrpSpPr>
        <p:grpSpPr>
          <a:xfrm>
            <a:off x="3357612" y="2490392"/>
            <a:ext cx="1087101" cy="1282822"/>
            <a:chOff x="655638" y="3429000"/>
            <a:chExt cx="2332544" cy="1132950"/>
          </a:xfrm>
        </p:grpSpPr>
        <p:sp>
          <p:nvSpPr>
            <p:cNvPr id="204" name="Rounded Rectangle 7">
              <a:extLst>
                <a:ext uri="{FF2B5EF4-FFF2-40B4-BE49-F238E27FC236}">
                  <a16:creationId xmlns:a16="http://schemas.microsoft.com/office/drawing/2014/main" id="{BEF7CA50-B6B7-4673-8917-38E4B2833785}"/>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5" name="Rectangle 204">
              <a:extLst>
                <a:ext uri="{FF2B5EF4-FFF2-40B4-BE49-F238E27FC236}">
                  <a16:creationId xmlns:a16="http://schemas.microsoft.com/office/drawing/2014/main" id="{E905F7F6-0819-4082-8688-2955820ABF44}"/>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3</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06" name="Group 205">
            <a:extLst>
              <a:ext uri="{FF2B5EF4-FFF2-40B4-BE49-F238E27FC236}">
                <a16:creationId xmlns:a16="http://schemas.microsoft.com/office/drawing/2014/main" id="{E8F7499F-F9AD-4DE6-878A-A1BA95E9C65C}"/>
              </a:ext>
            </a:extLst>
          </p:cNvPr>
          <p:cNvGrpSpPr/>
          <p:nvPr/>
        </p:nvGrpSpPr>
        <p:grpSpPr>
          <a:xfrm>
            <a:off x="4723271" y="2490392"/>
            <a:ext cx="1087101" cy="1282822"/>
            <a:chOff x="655638" y="3429000"/>
            <a:chExt cx="2332544" cy="1132950"/>
          </a:xfrm>
        </p:grpSpPr>
        <p:sp>
          <p:nvSpPr>
            <p:cNvPr id="207" name="Rounded Rectangle 7">
              <a:extLst>
                <a:ext uri="{FF2B5EF4-FFF2-40B4-BE49-F238E27FC236}">
                  <a16:creationId xmlns:a16="http://schemas.microsoft.com/office/drawing/2014/main" id="{55E58351-A484-4419-8E1F-21D98FFCB6E6}"/>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08" name="Rectangle 207">
              <a:extLst>
                <a:ext uri="{FF2B5EF4-FFF2-40B4-BE49-F238E27FC236}">
                  <a16:creationId xmlns:a16="http://schemas.microsoft.com/office/drawing/2014/main" id="{D76171E8-8E34-4C33-9C2C-3DB41A7442BB}"/>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4</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09" name="Group 208">
            <a:extLst>
              <a:ext uri="{FF2B5EF4-FFF2-40B4-BE49-F238E27FC236}">
                <a16:creationId xmlns:a16="http://schemas.microsoft.com/office/drawing/2014/main" id="{AC496877-D551-4874-B845-65344291DBE2}"/>
              </a:ext>
            </a:extLst>
          </p:cNvPr>
          <p:cNvGrpSpPr/>
          <p:nvPr/>
        </p:nvGrpSpPr>
        <p:grpSpPr>
          <a:xfrm>
            <a:off x="6004850" y="2490392"/>
            <a:ext cx="1087101" cy="1282822"/>
            <a:chOff x="655638" y="3429000"/>
            <a:chExt cx="2332544" cy="1132950"/>
          </a:xfrm>
        </p:grpSpPr>
        <p:sp>
          <p:nvSpPr>
            <p:cNvPr id="210" name="Rounded Rectangle 7">
              <a:extLst>
                <a:ext uri="{FF2B5EF4-FFF2-40B4-BE49-F238E27FC236}">
                  <a16:creationId xmlns:a16="http://schemas.microsoft.com/office/drawing/2014/main" id="{5B624B65-C0B0-4BB6-AA48-026428AEA15B}"/>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1" name="Rectangle 210">
              <a:extLst>
                <a:ext uri="{FF2B5EF4-FFF2-40B4-BE49-F238E27FC236}">
                  <a16:creationId xmlns:a16="http://schemas.microsoft.com/office/drawing/2014/main" id="{CF4E17FC-94D1-411F-8988-596C576E43CC}"/>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5</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12" name="Group 211">
            <a:extLst>
              <a:ext uri="{FF2B5EF4-FFF2-40B4-BE49-F238E27FC236}">
                <a16:creationId xmlns:a16="http://schemas.microsoft.com/office/drawing/2014/main" id="{3174F1A0-E8F0-4D1B-9DBE-4A8C77D35FDB}"/>
              </a:ext>
            </a:extLst>
          </p:cNvPr>
          <p:cNvGrpSpPr/>
          <p:nvPr/>
        </p:nvGrpSpPr>
        <p:grpSpPr>
          <a:xfrm>
            <a:off x="7286429" y="2490392"/>
            <a:ext cx="1087101" cy="1282822"/>
            <a:chOff x="655638" y="3429000"/>
            <a:chExt cx="2332544" cy="1132950"/>
          </a:xfrm>
        </p:grpSpPr>
        <p:sp>
          <p:nvSpPr>
            <p:cNvPr id="213" name="Rounded Rectangle 7">
              <a:extLst>
                <a:ext uri="{FF2B5EF4-FFF2-40B4-BE49-F238E27FC236}">
                  <a16:creationId xmlns:a16="http://schemas.microsoft.com/office/drawing/2014/main" id="{75C75519-DC6E-4293-AC4E-BEA15B08B4FC}"/>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4" name="Rectangle 213">
              <a:extLst>
                <a:ext uri="{FF2B5EF4-FFF2-40B4-BE49-F238E27FC236}">
                  <a16:creationId xmlns:a16="http://schemas.microsoft.com/office/drawing/2014/main" id="{A5715330-E953-453D-B789-3115826A1338}"/>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6</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15" name="Group 214">
            <a:extLst>
              <a:ext uri="{FF2B5EF4-FFF2-40B4-BE49-F238E27FC236}">
                <a16:creationId xmlns:a16="http://schemas.microsoft.com/office/drawing/2014/main" id="{12C85024-6725-4C85-AC44-EC1C1961FF1A}"/>
              </a:ext>
            </a:extLst>
          </p:cNvPr>
          <p:cNvGrpSpPr/>
          <p:nvPr/>
        </p:nvGrpSpPr>
        <p:grpSpPr>
          <a:xfrm>
            <a:off x="8568008" y="2490392"/>
            <a:ext cx="1087101" cy="1282822"/>
            <a:chOff x="655638" y="3429000"/>
            <a:chExt cx="2332544" cy="1132950"/>
          </a:xfrm>
        </p:grpSpPr>
        <p:sp>
          <p:nvSpPr>
            <p:cNvPr id="216" name="Rounded Rectangle 7">
              <a:extLst>
                <a:ext uri="{FF2B5EF4-FFF2-40B4-BE49-F238E27FC236}">
                  <a16:creationId xmlns:a16="http://schemas.microsoft.com/office/drawing/2014/main" id="{F5C2E800-B66B-43BF-A3F2-43E8381B4378}"/>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17" name="Rectangle 216">
              <a:extLst>
                <a:ext uri="{FF2B5EF4-FFF2-40B4-BE49-F238E27FC236}">
                  <a16:creationId xmlns:a16="http://schemas.microsoft.com/office/drawing/2014/main" id="{2974B8F6-9612-492B-A158-5A69D9F2011A}"/>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7</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grpSp>
        <p:nvGrpSpPr>
          <p:cNvPr id="218" name="Group 217">
            <a:extLst>
              <a:ext uri="{FF2B5EF4-FFF2-40B4-BE49-F238E27FC236}">
                <a16:creationId xmlns:a16="http://schemas.microsoft.com/office/drawing/2014/main" id="{A49BAEA4-8C83-4A4E-A925-E6A9BA240773}"/>
              </a:ext>
            </a:extLst>
          </p:cNvPr>
          <p:cNvGrpSpPr/>
          <p:nvPr/>
        </p:nvGrpSpPr>
        <p:grpSpPr>
          <a:xfrm>
            <a:off x="9849585" y="2490392"/>
            <a:ext cx="1087101" cy="1282822"/>
            <a:chOff x="655638" y="3429000"/>
            <a:chExt cx="2332544" cy="1132950"/>
          </a:xfrm>
        </p:grpSpPr>
        <p:sp>
          <p:nvSpPr>
            <p:cNvPr id="219" name="Rounded Rectangle 7">
              <a:extLst>
                <a:ext uri="{FF2B5EF4-FFF2-40B4-BE49-F238E27FC236}">
                  <a16:creationId xmlns:a16="http://schemas.microsoft.com/office/drawing/2014/main" id="{946CD687-25CC-4E97-9596-E0958D2B7124}"/>
                </a:ext>
              </a:extLst>
            </p:cNvPr>
            <p:cNvSpPr/>
            <p:nvPr/>
          </p:nvSpPr>
          <p:spPr>
            <a:xfrm>
              <a:off x="655638" y="3429000"/>
              <a:ext cx="2332544" cy="1132950"/>
            </a:xfrm>
            <a:prstGeom prst="roundRect">
              <a:avLst/>
            </a:prstGeom>
            <a:solidFill>
              <a:srgbClr val="296A8E"/>
            </a:solidFill>
            <a:ln w="25400" cap="flat" cmpd="sng" algn="ctr">
              <a:solidFill>
                <a:srgbClr val="424CA0">
                  <a:shade val="50000"/>
                </a:srgbClr>
              </a:solidFill>
              <a:prstDash val="solid"/>
            </a:ln>
            <a:effectLst/>
          </p:spPr>
          <p:style>
            <a:lnRef idx="0">
              <a:scrgbClr r="0" g="0" b="0"/>
            </a:lnRef>
            <a:fillRef idx="0">
              <a:scrgbClr r="0" g="0" b="0"/>
            </a:fillRef>
            <a:effectRef idx="0">
              <a:scrgbClr r="0" g="0" b="0"/>
            </a:effectRef>
            <a:fontRef idx="major"/>
          </p:style>
          <p:txBody>
            <a:bodyPr rtlCol="0" anchor="ctr"/>
            <a:lstStyle/>
            <a:p>
              <a:pPr marL="0" marR="0" lvl="0" indent="0" algn="ctr"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20" name="Rectangle 219">
              <a:extLst>
                <a:ext uri="{FF2B5EF4-FFF2-40B4-BE49-F238E27FC236}">
                  <a16:creationId xmlns:a16="http://schemas.microsoft.com/office/drawing/2014/main" id="{6196282F-EF76-4DF5-BC51-E6BA9CB516A2}"/>
                </a:ext>
              </a:extLst>
            </p:cNvPr>
            <p:cNvSpPr/>
            <p:nvPr/>
          </p:nvSpPr>
          <p:spPr>
            <a:xfrm>
              <a:off x="851466" y="3720262"/>
              <a:ext cx="1940885" cy="55042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style>
            <a:lnRef idx="0">
              <a:scrgbClr r="0" g="0" b="0"/>
            </a:lnRef>
            <a:fillRef idx="0">
              <a:scrgbClr r="0" g="0" b="0"/>
            </a:fillRef>
            <a:effectRef idx="0">
              <a:scrgbClr r="0" g="0" b="0"/>
            </a:effectRef>
            <a:fontRef idx="major"/>
          </p:style>
          <p:txBody>
            <a:bodyPr wrap="square" lIns="68570" tIns="34286" rIns="68570" bIns="34286">
              <a:spAutoFit/>
            </a:bodyPr>
            <a:lstStyle/>
            <a:p>
              <a:pPr marL="0" marR="0" lvl="0" indent="0" algn="ctr" defTabSz="68566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w="1905"/>
                  <a:solidFill>
                    <a:srgbClr val="1F497D">
                      <a:lumMod val="75000"/>
                    </a:srgbClr>
                  </a:solidFill>
                  <a:effectLst>
                    <a:innerShdw blurRad="69850" dist="43180" dir="5400000">
                      <a:srgbClr val="000000">
                        <a:alpha val="65000"/>
                      </a:srgbClr>
                    </a:innerShdw>
                  </a:effectLst>
                  <a:uLnTx/>
                  <a:uFillTx/>
                  <a:ea typeface="+mn-ea"/>
                  <a:cs typeface="+mn-cs"/>
                </a:rPr>
                <a:t>Page 8</a:t>
              </a:r>
            </a:p>
            <a:p>
              <a:pPr marL="0" marR="0" lvl="0" indent="0" algn="ctr" defTabSz="685668"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w="1905"/>
                <a:solidFill>
                  <a:srgbClr val="1F497D">
                    <a:lumMod val="60000"/>
                    <a:lumOff val="40000"/>
                  </a:srgbClr>
                </a:solidFill>
                <a:effectLst>
                  <a:innerShdw blurRad="69850" dist="43180" dir="5400000">
                    <a:srgbClr val="000000">
                      <a:alpha val="65000"/>
                    </a:srgbClr>
                  </a:innerShdw>
                </a:effectLst>
                <a:uLnTx/>
                <a:uFillTx/>
                <a:ea typeface="+mn-ea"/>
                <a:cs typeface="+mn-cs"/>
              </a:endParaRPr>
            </a:p>
          </p:txBody>
        </p:sp>
      </p:grpSp>
    </p:spTree>
    <p:extLst>
      <p:ext uri="{BB962C8B-B14F-4D97-AF65-F5344CB8AC3E}">
        <p14:creationId xmlns:p14="http://schemas.microsoft.com/office/powerpoint/2010/main" val="15213212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SQL Index Fragmentation and Maintenance options</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a:xfrm>
            <a:off x="655638" y="1447800"/>
            <a:ext cx="10880726" cy="4800600"/>
          </a:xfrm>
        </p:spPr>
        <p:txBody>
          <a:bodyPr/>
          <a:lstStyle/>
          <a:p>
            <a:r>
              <a:rPr lang="en-US" dirty="0"/>
              <a:t>Maintenance plans</a:t>
            </a:r>
          </a:p>
          <a:p>
            <a:r>
              <a:rPr lang="en-US" dirty="0"/>
              <a:t>SSMS -&gt; Index Physical Statistics report </a:t>
            </a:r>
          </a:p>
          <a:p>
            <a:pPr lvl="1"/>
            <a:r>
              <a:rPr lang="en-US" dirty="0"/>
              <a:t>Will report fragmentation and recommend solution at database level</a:t>
            </a:r>
          </a:p>
          <a:p>
            <a:r>
              <a:rPr lang="en-US" dirty="0"/>
              <a:t>Custom Solution</a:t>
            </a:r>
          </a:p>
          <a:p>
            <a:pPr lvl="1"/>
            <a:r>
              <a:rPr lang="en-US" dirty="0"/>
              <a:t>Find fragmentation  using </a:t>
            </a:r>
            <a:r>
              <a:rPr lang="en-US" dirty="0" err="1">
                <a:solidFill>
                  <a:schemeClr val="accent4"/>
                </a:solidFill>
                <a:latin typeface="Consolas" panose="020B0609020204030204" pitchFamily="49" charset="0"/>
              </a:rPr>
              <a:t>Sys.dm_db_index_physical_stats</a:t>
            </a:r>
            <a:endParaRPr lang="en-US" dirty="0"/>
          </a:p>
          <a:p>
            <a:pPr lvl="1"/>
            <a:r>
              <a:rPr lang="en-US" dirty="0"/>
              <a:t>Correct fragmentation </a:t>
            </a:r>
          </a:p>
          <a:p>
            <a:r>
              <a:rPr lang="en-US" dirty="0"/>
              <a:t>Can remove Index fragmentation using Rebuild or Reorganize option</a:t>
            </a:r>
          </a:p>
          <a:p>
            <a:endParaRPr lang="en-US" dirty="0"/>
          </a:p>
        </p:txBody>
      </p:sp>
      <p:graphicFrame>
        <p:nvGraphicFramePr>
          <p:cNvPr id="7" name="Table 7">
            <a:extLst>
              <a:ext uri="{FF2B5EF4-FFF2-40B4-BE49-F238E27FC236}">
                <a16:creationId xmlns:a16="http://schemas.microsoft.com/office/drawing/2014/main" id="{34AC8C55-62B7-42B0-A5E2-38B7F90A62F4}"/>
              </a:ext>
            </a:extLst>
          </p:cNvPr>
          <p:cNvGraphicFramePr>
            <a:graphicFrameLocks noGrp="1"/>
          </p:cNvGraphicFramePr>
          <p:nvPr/>
        </p:nvGraphicFramePr>
        <p:xfrm>
          <a:off x="1066800" y="4439544"/>
          <a:ext cx="9601200" cy="1808856"/>
        </p:xfrm>
        <a:graphic>
          <a:graphicData uri="http://schemas.openxmlformats.org/drawingml/2006/table">
            <a:tbl>
              <a:tblPr firstRow="1" bandRow="1">
                <a:tableStyleId>{21E4AEA4-8DFA-4A89-87EB-49C32662AFE0}</a:tableStyleId>
              </a:tblPr>
              <a:tblGrid>
                <a:gridCol w="2971799">
                  <a:extLst>
                    <a:ext uri="{9D8B030D-6E8A-4147-A177-3AD203B41FA5}">
                      <a16:colId xmlns:a16="http://schemas.microsoft.com/office/drawing/2014/main" val="3943042430"/>
                    </a:ext>
                  </a:extLst>
                </a:gridCol>
                <a:gridCol w="3138055">
                  <a:extLst>
                    <a:ext uri="{9D8B030D-6E8A-4147-A177-3AD203B41FA5}">
                      <a16:colId xmlns:a16="http://schemas.microsoft.com/office/drawing/2014/main" val="1952673238"/>
                    </a:ext>
                  </a:extLst>
                </a:gridCol>
                <a:gridCol w="3491346">
                  <a:extLst>
                    <a:ext uri="{9D8B030D-6E8A-4147-A177-3AD203B41FA5}">
                      <a16:colId xmlns:a16="http://schemas.microsoft.com/office/drawing/2014/main" val="427992128"/>
                    </a:ext>
                  </a:extLst>
                </a:gridCol>
              </a:tblGrid>
              <a:tr h="505038">
                <a:tc>
                  <a:txBody>
                    <a:bodyPr/>
                    <a:lstStyle/>
                    <a:p>
                      <a:endParaRPr lang="en-US"/>
                    </a:p>
                  </a:txBody>
                  <a:tcPr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a:solidFill>
                            <a:schemeClr val="lt1"/>
                          </a:solidFill>
                          <a:latin typeface="+mn-lt"/>
                          <a:ea typeface="+mn-ea"/>
                          <a:cs typeface="+mn-cs"/>
                        </a:rPr>
                        <a:t>ALTER</a:t>
                      </a:r>
                      <a:r>
                        <a:rPr lang="en-US" sz="1800" b="1" kern="1200" baseline="0">
                          <a:solidFill>
                            <a:schemeClr val="lt1"/>
                          </a:solidFill>
                          <a:latin typeface="+mn-lt"/>
                          <a:ea typeface="+mn-ea"/>
                          <a:cs typeface="+mn-cs"/>
                        </a:rPr>
                        <a:t> INDEX… REBUILD</a:t>
                      </a:r>
                      <a:endParaRPr lang="en-US" sz="1800" b="1" kern="1200">
                        <a:solidFill>
                          <a:schemeClr val="lt1"/>
                        </a:solidFill>
                        <a:latin typeface="+mn-lt"/>
                        <a:ea typeface="+mn-ea"/>
                        <a:cs typeface="+mn-cs"/>
                      </a:endParaRPr>
                    </a:p>
                    <a:p>
                      <a:endParaRPr lang="en-US"/>
                    </a:p>
                  </a:txBody>
                  <a:tcPr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a:solidFill>
                            <a:schemeClr val="lt1"/>
                          </a:solidFill>
                          <a:latin typeface="+mn-lt"/>
                          <a:ea typeface="+mn-ea"/>
                          <a:cs typeface="+mn-cs"/>
                        </a:rPr>
                        <a:t>ALTER</a:t>
                      </a:r>
                      <a:r>
                        <a:rPr lang="en-US" sz="1800" b="1" kern="1200" baseline="0">
                          <a:solidFill>
                            <a:schemeClr val="lt1"/>
                          </a:solidFill>
                          <a:latin typeface="+mn-lt"/>
                          <a:ea typeface="+mn-ea"/>
                          <a:cs typeface="+mn-cs"/>
                        </a:rPr>
                        <a:t> INDEX … REORGANIZE</a:t>
                      </a:r>
                      <a:endParaRPr lang="en-US" sz="1800" b="1" kern="1200">
                        <a:solidFill>
                          <a:schemeClr val="lt1"/>
                        </a:solidFill>
                        <a:latin typeface="+mn-lt"/>
                        <a:ea typeface="+mn-ea"/>
                        <a:cs typeface="+mn-cs"/>
                      </a:endParaRPr>
                    </a:p>
                    <a:p>
                      <a:endParaRPr lang="en-US"/>
                    </a:p>
                  </a:txBody>
                  <a:tcPr marT="0" marB="0"/>
                </a:tc>
                <a:extLst>
                  <a:ext uri="{0D108BD9-81ED-4DB2-BD59-A6C34878D82A}">
                    <a16:rowId xmlns:a16="http://schemas.microsoft.com/office/drawing/2014/main" val="2061229409"/>
                  </a:ext>
                </a:extLst>
              </a:tr>
              <a:tr h="315054">
                <a:tc>
                  <a:txBody>
                    <a:bodyPr/>
                    <a:lstStyle/>
                    <a:p>
                      <a:pPr algn="l"/>
                      <a:r>
                        <a:rPr lang="en-US" sz="2000"/>
                        <a:t>Removes</a:t>
                      </a:r>
                      <a:r>
                        <a:rPr lang="en-US" sz="2000" baseline="0"/>
                        <a:t> fragmentation</a:t>
                      </a:r>
                      <a:endParaRPr lang="en-US" sz="2000"/>
                    </a:p>
                  </a:txBody>
                  <a:tcPr marT="0" marB="0" anchor="ctr"/>
                </a:tc>
                <a:tc>
                  <a:txBody>
                    <a:bodyPr/>
                    <a:lstStyle/>
                    <a:p>
                      <a:pPr algn="ctr"/>
                      <a:r>
                        <a:rPr lang="en-US" b="1"/>
                        <a:t>X</a:t>
                      </a:r>
                    </a:p>
                  </a:txBody>
                  <a:tcPr marT="0" marB="0"/>
                </a:tc>
                <a:tc>
                  <a:txBody>
                    <a:bodyPr/>
                    <a:lstStyle/>
                    <a:p>
                      <a:pPr algn="ctr"/>
                      <a:r>
                        <a:rPr lang="en-US" b="1"/>
                        <a:t>X</a:t>
                      </a:r>
                    </a:p>
                  </a:txBody>
                  <a:tcPr marT="0" marB="0"/>
                </a:tc>
                <a:extLst>
                  <a:ext uri="{0D108BD9-81ED-4DB2-BD59-A6C34878D82A}">
                    <a16:rowId xmlns:a16="http://schemas.microsoft.com/office/drawing/2014/main" val="2526324830"/>
                  </a:ext>
                </a:extLst>
              </a:tr>
              <a:tr h="315054">
                <a:tc>
                  <a:txBody>
                    <a:bodyPr/>
                    <a:lstStyle/>
                    <a:p>
                      <a:pPr algn="l"/>
                      <a:r>
                        <a:rPr lang="en-US" sz="2000"/>
                        <a:t>Removes free space</a:t>
                      </a:r>
                    </a:p>
                  </a:txBody>
                  <a:tcPr marT="0" marB="0" anchor="ctr"/>
                </a:tc>
                <a:tc>
                  <a:txBody>
                    <a:bodyPr/>
                    <a:lstStyle/>
                    <a:p>
                      <a:pPr algn="ctr"/>
                      <a:r>
                        <a:rPr lang="en-US" b="1"/>
                        <a:t>X</a:t>
                      </a:r>
                    </a:p>
                  </a:txBody>
                  <a:tcPr marT="0" marB="0"/>
                </a:tc>
                <a:tc>
                  <a:txBody>
                    <a:bodyPr/>
                    <a:lstStyle/>
                    <a:p>
                      <a:pPr algn="ctr"/>
                      <a:endParaRPr lang="en-US"/>
                    </a:p>
                  </a:txBody>
                  <a:tcPr marT="0" marB="0"/>
                </a:tc>
                <a:extLst>
                  <a:ext uri="{0D108BD9-81ED-4DB2-BD59-A6C34878D82A}">
                    <a16:rowId xmlns:a16="http://schemas.microsoft.com/office/drawing/2014/main" val="3904632311"/>
                  </a:ext>
                </a:extLst>
              </a:tr>
              <a:tr h="315054">
                <a:tc>
                  <a:txBody>
                    <a:bodyPr/>
                    <a:lstStyle/>
                    <a:p>
                      <a:pPr algn="l"/>
                      <a:r>
                        <a:rPr lang="en-US" sz="2000"/>
                        <a:t>Resets fill factor</a:t>
                      </a:r>
                    </a:p>
                  </a:txBody>
                  <a:tcPr marT="0" marB="0" anchor="ctr"/>
                </a:tc>
                <a:tc>
                  <a:txBody>
                    <a:bodyPr/>
                    <a:lstStyle/>
                    <a:p>
                      <a:pPr algn="ctr"/>
                      <a:r>
                        <a:rPr lang="en-US" b="1"/>
                        <a:t>X</a:t>
                      </a:r>
                    </a:p>
                  </a:txBody>
                  <a:tcPr marT="0" marB="0"/>
                </a:tc>
                <a:tc>
                  <a:txBody>
                    <a:bodyPr/>
                    <a:lstStyle/>
                    <a:p>
                      <a:pPr algn="ctr"/>
                      <a:endParaRPr lang="en-US"/>
                    </a:p>
                  </a:txBody>
                  <a:tcPr marT="0" marB="0"/>
                </a:tc>
                <a:extLst>
                  <a:ext uri="{0D108BD9-81ED-4DB2-BD59-A6C34878D82A}">
                    <a16:rowId xmlns:a16="http://schemas.microsoft.com/office/drawing/2014/main" val="1568363117"/>
                  </a:ext>
                </a:extLst>
              </a:tr>
              <a:tr h="315054">
                <a:tc>
                  <a:txBody>
                    <a:bodyPr/>
                    <a:lstStyle/>
                    <a:p>
                      <a:pPr algn="l"/>
                      <a:r>
                        <a:rPr lang="en-US" sz="2000"/>
                        <a:t>Updates</a:t>
                      </a:r>
                      <a:r>
                        <a:rPr lang="en-US" sz="2000" baseline="0"/>
                        <a:t> statistics</a:t>
                      </a:r>
                      <a:endParaRPr lang="en-US" sz="2000"/>
                    </a:p>
                  </a:txBody>
                  <a:tcPr marT="0" marB="0" anchor="ctr"/>
                </a:tc>
                <a:tc>
                  <a:txBody>
                    <a:bodyPr/>
                    <a:lstStyle/>
                    <a:p>
                      <a:pPr algn="ctr"/>
                      <a:r>
                        <a:rPr lang="en-US" b="1"/>
                        <a:t>X</a:t>
                      </a:r>
                    </a:p>
                  </a:txBody>
                  <a:tcPr marT="0" marB="0"/>
                </a:tc>
                <a:tc>
                  <a:txBody>
                    <a:bodyPr/>
                    <a:lstStyle/>
                    <a:p>
                      <a:pPr algn="ctr"/>
                      <a:endParaRPr lang="en-US"/>
                    </a:p>
                  </a:txBody>
                  <a:tcPr marT="0" marB="0"/>
                </a:tc>
                <a:extLst>
                  <a:ext uri="{0D108BD9-81ED-4DB2-BD59-A6C34878D82A}">
                    <a16:rowId xmlns:a16="http://schemas.microsoft.com/office/drawing/2014/main" val="1090236524"/>
                  </a:ext>
                </a:extLst>
              </a:tr>
            </a:tbl>
          </a:graphicData>
        </a:graphic>
      </p:graphicFrame>
    </p:spTree>
    <p:extLst>
      <p:ext uri="{BB962C8B-B14F-4D97-AF65-F5344CB8AC3E}">
        <p14:creationId xmlns:p14="http://schemas.microsoft.com/office/powerpoint/2010/main" val="37401112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Fill Factor</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Can address performance issues due to fragmentation. </a:t>
            </a:r>
          </a:p>
          <a:p>
            <a:endParaRPr lang="en-US"/>
          </a:p>
        </p:txBody>
      </p:sp>
      <p:graphicFrame>
        <p:nvGraphicFramePr>
          <p:cNvPr id="6" name="Content Placeholder 5">
            <a:extLst>
              <a:ext uri="{FF2B5EF4-FFF2-40B4-BE49-F238E27FC236}">
                <a16:creationId xmlns:a16="http://schemas.microsoft.com/office/drawing/2014/main" id="{CB893BEC-7F4D-4425-80FF-BA6D91F13E90}"/>
              </a:ext>
            </a:extLst>
          </p:cNvPr>
          <p:cNvGraphicFramePr>
            <a:graphicFrameLocks noGrp="1"/>
          </p:cNvGraphicFramePr>
          <p:nvPr>
            <p:ph sz="quarter" idx="13"/>
          </p:nvPr>
        </p:nvGraphicFramePr>
        <p:xfrm>
          <a:off x="655638" y="1408114"/>
          <a:ext cx="10880726" cy="2782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2E5CD34F-F989-43B8-B265-5903EA6E24D4}"/>
              </a:ext>
            </a:extLst>
          </p:cNvPr>
          <p:cNvSpPr/>
          <p:nvPr/>
        </p:nvSpPr>
        <p:spPr>
          <a:xfrm>
            <a:off x="655637" y="4572000"/>
            <a:ext cx="10880725" cy="1200329"/>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ALTER</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INDEX</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pk_bigProduc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ON</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dbo</a:t>
            </a:r>
            <a:r>
              <a:rPr lang="en-US" dirty="0">
                <a:solidFill>
                  <a:srgbClr val="000000"/>
                </a:solidFill>
                <a:latin typeface="Consolas" panose="020B0609020204030204" pitchFamily="49" charset="0"/>
              </a:rPr>
              <a:t>]</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bigProduct</a:t>
            </a:r>
            <a:r>
              <a:rPr lang="en-US" dirty="0">
                <a:solidFill>
                  <a:srgbClr val="000000"/>
                </a:solidFill>
                <a:latin typeface="Consolas" panose="020B0609020204030204" pitchFamily="49" charset="0"/>
              </a:rPr>
              <a:t>] </a:t>
            </a:r>
          </a:p>
          <a:p>
            <a:r>
              <a:rPr lang="en-US" dirty="0">
                <a:solidFill>
                  <a:srgbClr val="0000FF"/>
                </a:solidFill>
                <a:latin typeface="Consolas" panose="020B0609020204030204" pitchFamily="49" charset="0"/>
              </a:rPr>
              <a:t>REBUILD</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WITH </a:t>
            </a:r>
            <a:r>
              <a:rPr lang="en-US" dirty="0">
                <a:solidFill>
                  <a:srgbClr val="808080"/>
                </a:solidFill>
                <a:latin typeface="Consolas" panose="020B0609020204030204" pitchFamily="49" charset="0"/>
              </a:rPr>
              <a:t>(PAD_INDEX = ON, </a:t>
            </a:r>
            <a:r>
              <a:rPr lang="en-US" dirty="0">
                <a:solidFill>
                  <a:srgbClr val="0000FF"/>
                </a:solidFill>
                <a:latin typeface="Consolas" panose="020B0609020204030204" pitchFamily="49" charset="0"/>
              </a:rPr>
              <a:t>FILLFACTOR</a:t>
            </a:r>
            <a:r>
              <a:rPr lang="en-US" dirty="0">
                <a:solidFill>
                  <a:srgbClr val="000000"/>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90</a:t>
            </a:r>
            <a:r>
              <a:rPr lang="en-US" dirty="0">
                <a:solidFill>
                  <a:srgbClr val="808080"/>
                </a:solidFill>
                <a:latin typeface="Consolas" panose="020B0609020204030204" pitchFamily="49" charset="0"/>
              </a:rPr>
              <a:t>)</a:t>
            </a:r>
            <a:endParaRPr lang="en-US" dirty="0">
              <a:solidFill>
                <a:srgbClr val="000000"/>
              </a:solidFill>
              <a:latin typeface="Consolas" panose="020B0609020204030204" pitchFamily="49" charset="0"/>
            </a:endParaRPr>
          </a:p>
        </p:txBody>
      </p:sp>
    </p:spTree>
    <p:extLst>
      <p:ext uri="{BB962C8B-B14F-4D97-AF65-F5344CB8AC3E}">
        <p14:creationId xmlns:p14="http://schemas.microsoft.com/office/powerpoint/2010/main" val="18685199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Reducing fragmentation</a:t>
            </a:r>
          </a:p>
        </p:txBody>
      </p:sp>
      <p:graphicFrame>
        <p:nvGraphicFramePr>
          <p:cNvPr id="5" name="Content Placeholder 4">
            <a:extLst>
              <a:ext uri="{FF2B5EF4-FFF2-40B4-BE49-F238E27FC236}">
                <a16:creationId xmlns:a16="http://schemas.microsoft.com/office/drawing/2014/main" id="{09EAD516-1026-4FE2-95B8-45F49E2A26BC}"/>
              </a:ext>
            </a:extLst>
          </p:cNvPr>
          <p:cNvGraphicFramePr>
            <a:graphicFrameLocks noGrp="1"/>
          </p:cNvGraphicFramePr>
          <p:nvPr>
            <p:ph sz="quarter" idx="13"/>
          </p:nvPr>
        </p:nvGraphicFramePr>
        <p:xfrm>
          <a:off x="655638" y="1408114"/>
          <a:ext cx="10545762" cy="30080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245401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Missing Index Recommendations</a:t>
            </a:r>
          </a:p>
        </p:txBody>
      </p:sp>
      <p:graphicFrame>
        <p:nvGraphicFramePr>
          <p:cNvPr id="7" name="Content Placeholder 6">
            <a:extLst>
              <a:ext uri="{FF2B5EF4-FFF2-40B4-BE49-F238E27FC236}">
                <a16:creationId xmlns:a16="http://schemas.microsoft.com/office/drawing/2014/main" id="{AA8484F7-1E30-4B5D-BB1E-6DFBAC6B40EA}"/>
              </a:ext>
            </a:extLst>
          </p:cNvPr>
          <p:cNvGraphicFramePr>
            <a:graphicFrameLocks noGrp="1"/>
          </p:cNvGraphicFramePr>
          <p:nvPr>
            <p:ph sz="quarter" idx="13"/>
            <p:extLst>
              <p:ext uri="{D42A27DB-BD31-4B8C-83A1-F6EECF244321}">
                <p14:modId xmlns:p14="http://schemas.microsoft.com/office/powerpoint/2010/main" val="3689173558"/>
              </p:ext>
            </p:extLst>
          </p:nvPr>
        </p:nvGraphicFramePr>
        <p:xfrm>
          <a:off x="655638" y="1408114"/>
          <a:ext cx="10880726" cy="1868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882E0E9F-DC97-4918-983A-E497BEB59C9E}"/>
              </a:ext>
            </a:extLst>
          </p:cNvPr>
          <p:cNvPicPr>
            <a:picLocks noChangeAspect="1"/>
          </p:cNvPicPr>
          <p:nvPr/>
        </p:nvPicPr>
        <p:blipFill>
          <a:blip r:embed="rId8"/>
          <a:stretch>
            <a:fillRect/>
          </a:stretch>
        </p:blipFill>
        <p:spPr>
          <a:xfrm>
            <a:off x="2438400" y="3352800"/>
            <a:ext cx="7086599" cy="2514600"/>
          </a:xfrm>
          <a:prstGeom prst="rect">
            <a:avLst/>
          </a:prstGeom>
        </p:spPr>
      </p:pic>
    </p:spTree>
    <p:extLst>
      <p:ext uri="{BB962C8B-B14F-4D97-AF65-F5344CB8AC3E}">
        <p14:creationId xmlns:p14="http://schemas.microsoft.com/office/powerpoint/2010/main" val="28610983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Choosing Indexes </a:t>
            </a:r>
          </a:p>
        </p:txBody>
      </p:sp>
      <p:graphicFrame>
        <p:nvGraphicFramePr>
          <p:cNvPr id="5" name="Content Placeholder 4">
            <a:extLst>
              <a:ext uri="{FF2B5EF4-FFF2-40B4-BE49-F238E27FC236}">
                <a16:creationId xmlns:a16="http://schemas.microsoft.com/office/drawing/2014/main" id="{09EAD516-1026-4FE2-95B8-45F49E2A26BC}"/>
              </a:ext>
            </a:extLst>
          </p:cNvPr>
          <p:cNvGraphicFramePr>
            <a:graphicFrameLocks noGrp="1"/>
          </p:cNvGraphicFramePr>
          <p:nvPr>
            <p:ph sz="quarter" idx="13"/>
            <p:extLst>
              <p:ext uri="{D42A27DB-BD31-4B8C-83A1-F6EECF244321}">
                <p14:modId xmlns:p14="http://schemas.microsoft.com/office/powerpoint/2010/main" val="1176526715"/>
              </p:ext>
            </p:extLst>
          </p:nvPr>
        </p:nvGraphicFramePr>
        <p:xfrm>
          <a:off x="655638" y="1612301"/>
          <a:ext cx="6126162" cy="40516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2584858B-A28D-4297-9168-CADBAAF75F05}"/>
              </a:ext>
            </a:extLst>
          </p:cNvPr>
          <p:cNvGrpSpPr/>
          <p:nvPr/>
        </p:nvGrpSpPr>
        <p:grpSpPr>
          <a:xfrm>
            <a:off x="7039082" y="2286178"/>
            <a:ext cx="4648200" cy="3007957"/>
            <a:chOff x="8034647" y="2492643"/>
            <a:chExt cx="3547753" cy="2420314"/>
          </a:xfrm>
        </p:grpSpPr>
        <p:pic>
          <p:nvPicPr>
            <p:cNvPr id="8" name="Picture 7">
              <a:extLst>
                <a:ext uri="{FF2B5EF4-FFF2-40B4-BE49-F238E27FC236}">
                  <a16:creationId xmlns:a16="http://schemas.microsoft.com/office/drawing/2014/main" id="{E7138BBA-7882-48EF-9E20-858F6DBE6E32}"/>
                </a:ext>
              </a:extLst>
            </p:cNvPr>
            <p:cNvPicPr>
              <a:picLocks noChangeAspect="1"/>
            </p:cNvPicPr>
            <p:nvPr/>
          </p:nvPicPr>
          <p:blipFill>
            <a:blip r:embed="rId8"/>
            <a:stretch>
              <a:fillRect/>
            </a:stretch>
          </p:blipFill>
          <p:spPr>
            <a:xfrm>
              <a:off x="8050006" y="2743201"/>
              <a:ext cx="3532394" cy="2169756"/>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4786AFEE-7D51-4218-A7ED-26AAF44BF9D4}"/>
                </a:ext>
              </a:extLst>
            </p:cNvPr>
            <p:cNvPicPr>
              <a:picLocks noChangeAspect="1"/>
            </p:cNvPicPr>
            <p:nvPr/>
          </p:nvPicPr>
          <p:blipFill>
            <a:blip r:embed="rId9"/>
            <a:stretch>
              <a:fillRect/>
            </a:stretch>
          </p:blipFill>
          <p:spPr>
            <a:xfrm>
              <a:off x="8034647" y="2492643"/>
              <a:ext cx="1981214" cy="223839"/>
            </a:xfrm>
            <a:prstGeom prst="rect">
              <a:avLst/>
            </a:prstGeom>
            <a:ln>
              <a:noFill/>
            </a:ln>
            <a:effectLst>
              <a:outerShdw blurRad="190500" algn="tl" rotWithShape="0">
                <a:srgbClr val="000000">
                  <a:alpha val="70000"/>
                </a:srgbClr>
              </a:outerShdw>
            </a:effectLst>
          </p:spPr>
        </p:pic>
      </p:grpSp>
    </p:spTree>
    <p:extLst>
      <p:ext uri="{BB962C8B-B14F-4D97-AF65-F5344CB8AC3E}">
        <p14:creationId xmlns:p14="http://schemas.microsoft.com/office/powerpoint/2010/main" val="39223787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a:t>Demonstration</a:t>
            </a:r>
            <a:endParaRPr lang="en-US">
              <a:solidFill>
                <a:srgbClr val="0070C0"/>
              </a:solidFill>
            </a:endParaRP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b="1"/>
              <a:t>Analyzing Index Usage</a:t>
            </a:r>
          </a:p>
          <a:p>
            <a:r>
              <a:rPr lang="en-US"/>
              <a:t>Show how index usage patterns can help identify index and query improvements.</a:t>
            </a:r>
          </a:p>
          <a:p>
            <a:endParaRPr lang="en-US"/>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912230581"/>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4: SQL Server Statistics Internals</a:t>
            </a:r>
          </a:p>
        </p:txBody>
      </p:sp>
    </p:spTree>
    <p:extLst>
      <p:ext uri="{BB962C8B-B14F-4D97-AF65-F5344CB8AC3E}">
        <p14:creationId xmlns:p14="http://schemas.microsoft.com/office/powerpoint/2010/main" val="29467669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statistics, and to retrieve their contents.</a:t>
            </a:r>
          </a:p>
          <a:p>
            <a:r>
              <a:rPr lang="en-US" dirty="0"/>
              <a:t>Review database options used to control statistics creation and update.</a:t>
            </a:r>
          </a:p>
          <a:p>
            <a:r>
              <a:rPr lang="en-US" dirty="0"/>
              <a:t>Use different methods to read statistics information.</a:t>
            </a:r>
          </a:p>
          <a:p>
            <a:endParaRPr lang="en-US" dirty="0"/>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4029103720"/>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statistic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What are the statistics?</a:t>
            </a:r>
          </a:p>
        </p:txBody>
      </p:sp>
      <p:graphicFrame>
        <p:nvGraphicFramePr>
          <p:cNvPr id="4" name="Content Placeholder 3">
            <a:extLst>
              <a:ext uri="{FF2B5EF4-FFF2-40B4-BE49-F238E27FC236}">
                <a16:creationId xmlns:a16="http://schemas.microsoft.com/office/drawing/2014/main" id="{7654684A-1D58-4E4C-800B-2692109DD545}"/>
              </a:ext>
            </a:extLst>
          </p:cNvPr>
          <p:cNvGraphicFramePr>
            <a:graphicFrameLocks noGrp="1"/>
          </p:cNvGraphicFramePr>
          <p:nvPr>
            <p:ph sz="quarter" idx="13"/>
          </p:nvPr>
        </p:nvGraphicFramePr>
        <p:xfrm>
          <a:off x="648709" y="1524000"/>
          <a:ext cx="10880726"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ontent Placeholder 4">
            <a:extLst>
              <a:ext uri="{FF2B5EF4-FFF2-40B4-BE49-F238E27FC236}">
                <a16:creationId xmlns:a16="http://schemas.microsoft.com/office/drawing/2014/main" id="{47B820E1-A945-4423-BDCE-4248A76DDC97}"/>
              </a:ext>
            </a:extLst>
          </p:cNvPr>
          <p:cNvSpPr txBox="1">
            <a:spLocks/>
          </p:cNvSpPr>
          <p:nvPr/>
        </p:nvSpPr>
        <p:spPr>
          <a:xfrm>
            <a:off x="655636" y="4072847"/>
            <a:ext cx="10880726" cy="1905000"/>
          </a:xfrm>
          <a:prstGeom prst="rect">
            <a:avLst/>
          </a:prstGeom>
        </p:spPr>
        <p:txBody>
          <a:bodyPr vert="horz" lIns="0" tIns="0" rIns="0" bIns="0" rtlCol="0">
            <a:normAutofit/>
          </a:bodyPr>
          <a:lst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a:lstStyle>
          <a:p>
            <a:pPr marL="0" indent="0">
              <a:buNone/>
            </a:pPr>
            <a:r>
              <a:rPr lang="en-US" dirty="0"/>
              <a:t>Statistics are created:</a:t>
            </a:r>
          </a:p>
          <a:p>
            <a:r>
              <a:rPr lang="en-US" dirty="0"/>
              <a:t>Intrinsically when indexes are created.</a:t>
            </a:r>
          </a:p>
          <a:p>
            <a:r>
              <a:rPr lang="en-US" dirty="0"/>
              <a:t>Manually by using CREATE STATISTICS command.</a:t>
            </a:r>
          </a:p>
          <a:p>
            <a:r>
              <a:rPr lang="en-US" dirty="0"/>
              <a:t>Automatically, to support WHERE clauses (if AUTO_CREATE_STATISTICS in ON).</a:t>
            </a:r>
          </a:p>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3058553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3FE3974B-444F-4427-8DE0-3DDCE6ABE1D0}"/>
              </a:ext>
            </a:extLst>
          </p:cNvPr>
          <p:cNvGraphicFramePr>
            <a:graphicFrameLocks noGrp="1"/>
          </p:cNvGraphicFramePr>
          <p:nvPr>
            <p:ph sz="quarter" idx="13"/>
            <p:extLst>
              <p:ext uri="{D42A27DB-BD31-4B8C-83A1-F6EECF244321}">
                <p14:modId xmlns:p14="http://schemas.microsoft.com/office/powerpoint/2010/main" val="3627109836"/>
              </p:ext>
            </p:extLst>
          </p:nvPr>
        </p:nvGraphicFramePr>
        <p:xfrm>
          <a:off x="-142188" y="1499952"/>
          <a:ext cx="6354763" cy="4572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8">
            <a:extLst>
              <a:ext uri="{FF2B5EF4-FFF2-40B4-BE49-F238E27FC236}">
                <a16:creationId xmlns:a16="http://schemas.microsoft.com/office/drawing/2014/main" id="{FD23E433-69B8-4DF9-FA13-71888E60BDC3}"/>
              </a:ext>
            </a:extLst>
          </p:cNvPr>
          <p:cNvSpPr>
            <a:spLocks noGrp="1"/>
          </p:cNvSpPr>
          <p:nvPr>
            <p:ph type="title"/>
          </p:nvPr>
        </p:nvSpPr>
        <p:spPr/>
        <p:txBody>
          <a:bodyPr/>
          <a:lstStyle/>
          <a:p>
            <a:r>
              <a:rPr lang="en-US" dirty="0"/>
              <a:t>What is an Index?</a:t>
            </a:r>
          </a:p>
        </p:txBody>
      </p:sp>
      <p:pic>
        <p:nvPicPr>
          <p:cNvPr id="1026" name="Picture 2" descr="See the source image">
            <a:extLst>
              <a:ext uri="{FF2B5EF4-FFF2-40B4-BE49-F238E27FC236}">
                <a16:creationId xmlns:a16="http://schemas.microsoft.com/office/drawing/2014/main" id="{8BA41D22-B8D8-6639-85D9-99600662513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11151" y="1550533"/>
            <a:ext cx="5725212" cy="452142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54704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tatistics components</a:t>
            </a:r>
          </a:p>
        </p:txBody>
      </p:sp>
      <p:graphicFrame>
        <p:nvGraphicFramePr>
          <p:cNvPr id="4" name="Diagram 3">
            <a:extLst>
              <a:ext uri="{FF2B5EF4-FFF2-40B4-BE49-F238E27FC236}">
                <a16:creationId xmlns:a16="http://schemas.microsoft.com/office/drawing/2014/main" id="{4CE1729E-5F14-493D-A8DF-AE098BAF45B5}"/>
              </a:ext>
            </a:extLst>
          </p:cNvPr>
          <p:cNvGraphicFramePr/>
          <p:nvPr/>
        </p:nvGraphicFramePr>
        <p:xfrm>
          <a:off x="655637" y="1524000"/>
          <a:ext cx="11079164" cy="4695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35318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Resultado de imagen para sql server statistics histogram">
            <a:extLst>
              <a:ext uri="{FF2B5EF4-FFF2-40B4-BE49-F238E27FC236}">
                <a16:creationId xmlns:a16="http://schemas.microsoft.com/office/drawing/2014/main" id="{E4AF85E3-CE5D-49A4-A9FA-8398F87D6A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1800" y="3895332"/>
            <a:ext cx="5015027" cy="2492498"/>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A6A6B2A-C640-41AD-85EE-EB378D830954}"/>
              </a:ext>
            </a:extLst>
          </p:cNvPr>
          <p:cNvSpPr>
            <a:spLocks noGrp="1"/>
          </p:cNvSpPr>
          <p:nvPr>
            <p:ph type="title"/>
          </p:nvPr>
        </p:nvSpPr>
        <p:spPr>
          <a:xfrm>
            <a:off x="655638" y="320040"/>
            <a:ext cx="10880725" cy="461665"/>
          </a:xfrm>
        </p:spPr>
        <p:txBody>
          <a:bodyPr/>
          <a:lstStyle/>
          <a:p>
            <a:r>
              <a:rPr lang="en-US" dirty="0"/>
              <a:t>Statistics components</a:t>
            </a:r>
          </a:p>
        </p:txBody>
      </p:sp>
      <p:sp>
        <p:nvSpPr>
          <p:cNvPr id="9" name="Subtitle 2">
            <a:extLst>
              <a:ext uri="{FF2B5EF4-FFF2-40B4-BE49-F238E27FC236}">
                <a16:creationId xmlns:a16="http://schemas.microsoft.com/office/drawing/2014/main" id="{4F1A090E-0583-4F9B-BD17-8175D5F17102}"/>
              </a:ext>
            </a:extLst>
          </p:cNvPr>
          <p:cNvSpPr>
            <a:spLocks noGrp="1"/>
          </p:cNvSpPr>
          <p:nvPr>
            <p:ph type="subTitle" idx="1"/>
          </p:nvPr>
        </p:nvSpPr>
        <p:spPr>
          <a:xfrm>
            <a:off x="655637" y="786383"/>
            <a:ext cx="10880725" cy="461665"/>
          </a:xfrm>
        </p:spPr>
        <p:txBody>
          <a:bodyPr/>
          <a:lstStyle/>
          <a:p>
            <a:r>
              <a:rPr lang="en-US" dirty="0"/>
              <a:t>Histogram</a:t>
            </a:r>
          </a:p>
        </p:txBody>
      </p:sp>
      <p:sp>
        <p:nvSpPr>
          <p:cNvPr id="10" name="Content Placeholder 9">
            <a:extLst>
              <a:ext uri="{FF2B5EF4-FFF2-40B4-BE49-F238E27FC236}">
                <a16:creationId xmlns:a16="http://schemas.microsoft.com/office/drawing/2014/main" id="{6965313C-3559-4950-9F03-9851573C58E9}"/>
              </a:ext>
            </a:extLst>
          </p:cNvPr>
          <p:cNvSpPr>
            <a:spLocks noGrp="1"/>
          </p:cNvSpPr>
          <p:nvPr>
            <p:ph sz="quarter" idx="13"/>
          </p:nvPr>
        </p:nvSpPr>
        <p:spPr/>
        <p:txBody>
          <a:bodyPr/>
          <a:lstStyle/>
          <a:p>
            <a:pPr marL="0" indent="0">
              <a:buNone/>
            </a:pPr>
            <a:r>
              <a:rPr lang="en-US" dirty="0"/>
              <a:t>It is computed from the values in the leftmost key column of the statistics object.</a:t>
            </a:r>
          </a:p>
          <a:p>
            <a:pPr marL="0" indent="0">
              <a:buNone/>
            </a:pPr>
            <a:endParaRPr lang="en-US" dirty="0"/>
          </a:p>
          <a:p>
            <a:pPr marL="0" indent="0">
              <a:buNone/>
            </a:pPr>
            <a:r>
              <a:rPr lang="en-US" dirty="0"/>
              <a:t>Data is selected from table or view in one of two ways:</a:t>
            </a:r>
          </a:p>
          <a:p>
            <a:r>
              <a:rPr lang="en-US" dirty="0"/>
              <a:t>Statistically sampling rows. </a:t>
            </a:r>
            <a:br>
              <a:rPr lang="en-US" dirty="0"/>
            </a:br>
            <a:r>
              <a:rPr lang="en-US" dirty="0"/>
              <a:t>Data shown contains estimates of rows and distinct values.</a:t>
            </a:r>
          </a:p>
          <a:p>
            <a:r>
              <a:rPr lang="en-US" dirty="0"/>
              <a:t>Performing a full scan of all rows. </a:t>
            </a:r>
            <a:br>
              <a:rPr lang="en-US" dirty="0"/>
            </a:br>
            <a:r>
              <a:rPr lang="en-US" dirty="0"/>
              <a:t>Data shown contains actual numbers.</a:t>
            </a:r>
          </a:p>
        </p:txBody>
      </p:sp>
    </p:spTree>
    <p:extLst>
      <p:ext uri="{BB962C8B-B14F-4D97-AF65-F5344CB8AC3E}">
        <p14:creationId xmlns:p14="http://schemas.microsoft.com/office/powerpoint/2010/main" val="34627509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414E1-6976-4CB5-AA91-B888585A5510}"/>
              </a:ext>
            </a:extLst>
          </p:cNvPr>
          <p:cNvSpPr>
            <a:spLocks noGrp="1"/>
          </p:cNvSpPr>
          <p:nvPr>
            <p:ph type="title"/>
          </p:nvPr>
        </p:nvSpPr>
        <p:spPr/>
        <p:txBody>
          <a:bodyPr/>
          <a:lstStyle/>
          <a:p>
            <a:r>
              <a:rPr lang="en-US" dirty="0"/>
              <a:t>Showing Statistics</a:t>
            </a:r>
          </a:p>
        </p:txBody>
      </p:sp>
      <p:pic>
        <p:nvPicPr>
          <p:cNvPr id="6" name="Picture 5">
            <a:extLst>
              <a:ext uri="{FF2B5EF4-FFF2-40B4-BE49-F238E27FC236}">
                <a16:creationId xmlns:a16="http://schemas.microsoft.com/office/drawing/2014/main" id="{E60F2CBA-AAF7-4D1F-A57E-C4CCAB53577B}"/>
              </a:ext>
            </a:extLst>
          </p:cNvPr>
          <p:cNvPicPr>
            <a:picLocks noChangeAspect="1"/>
          </p:cNvPicPr>
          <p:nvPr/>
        </p:nvPicPr>
        <p:blipFill>
          <a:blip r:embed="rId2"/>
          <a:stretch>
            <a:fillRect/>
          </a:stretch>
        </p:blipFill>
        <p:spPr>
          <a:xfrm>
            <a:off x="566739" y="1079604"/>
            <a:ext cx="10141781" cy="4316829"/>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D2E8EFE0-8C76-4469-8DDC-11A4E60CED7F}"/>
              </a:ext>
            </a:extLst>
          </p:cNvPr>
          <p:cNvPicPr>
            <a:picLocks noChangeAspect="1"/>
          </p:cNvPicPr>
          <p:nvPr/>
        </p:nvPicPr>
        <p:blipFill>
          <a:blip r:embed="rId3"/>
          <a:stretch>
            <a:fillRect/>
          </a:stretch>
        </p:blipFill>
        <p:spPr>
          <a:xfrm>
            <a:off x="8305800" y="3581400"/>
            <a:ext cx="3448258" cy="30500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1663336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414E1-6976-4CB5-AA91-B888585A5510}"/>
              </a:ext>
            </a:extLst>
          </p:cNvPr>
          <p:cNvSpPr>
            <a:spLocks noGrp="1"/>
          </p:cNvSpPr>
          <p:nvPr>
            <p:ph type="title"/>
          </p:nvPr>
        </p:nvSpPr>
        <p:spPr/>
        <p:txBody>
          <a:bodyPr/>
          <a:lstStyle/>
          <a:p>
            <a:r>
              <a:rPr lang="en-US" dirty="0"/>
              <a:t>Showing Statistics</a:t>
            </a:r>
          </a:p>
        </p:txBody>
      </p:sp>
      <p:pic>
        <p:nvPicPr>
          <p:cNvPr id="3" name="Picture 2">
            <a:extLst>
              <a:ext uri="{FF2B5EF4-FFF2-40B4-BE49-F238E27FC236}">
                <a16:creationId xmlns:a16="http://schemas.microsoft.com/office/drawing/2014/main" id="{9AAF69AE-305A-4F92-8078-0CB0F2A7679F}"/>
              </a:ext>
            </a:extLst>
          </p:cNvPr>
          <p:cNvPicPr>
            <a:picLocks noChangeAspect="1"/>
          </p:cNvPicPr>
          <p:nvPr/>
        </p:nvPicPr>
        <p:blipFill>
          <a:blip r:embed="rId2"/>
          <a:stretch>
            <a:fillRect/>
          </a:stretch>
        </p:blipFill>
        <p:spPr>
          <a:xfrm>
            <a:off x="2255837" y="1058862"/>
            <a:ext cx="7239000" cy="554425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465774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2A5A7EC1-80D9-4B7E-A3BC-D7C175A303B8}"/>
              </a:ext>
            </a:extLst>
          </p:cNvPr>
          <p:cNvGraphicFramePr/>
          <p:nvPr>
            <p:extLst>
              <p:ext uri="{D42A27DB-BD31-4B8C-83A1-F6EECF244321}">
                <p14:modId xmlns:p14="http://schemas.microsoft.com/office/powerpoint/2010/main" val="2749234141"/>
              </p:ext>
            </p:extLst>
          </p:nvPr>
        </p:nvGraphicFramePr>
        <p:xfrm>
          <a:off x="572509" y="1017215"/>
          <a:ext cx="11383963" cy="3352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4">
            <a:extLst>
              <a:ext uri="{FF2B5EF4-FFF2-40B4-BE49-F238E27FC236}">
                <a16:creationId xmlns:a16="http://schemas.microsoft.com/office/drawing/2014/main" id="{24C4EB61-0D7A-46CB-8229-319CA954D941}"/>
              </a:ext>
            </a:extLst>
          </p:cNvPr>
          <p:cNvSpPr>
            <a:spLocks noGrp="1"/>
          </p:cNvSpPr>
          <p:nvPr>
            <p:ph sz="quarter" idx="13"/>
          </p:nvPr>
        </p:nvSpPr>
        <p:spPr>
          <a:xfrm>
            <a:off x="655636" y="4114800"/>
            <a:ext cx="11383963" cy="2423160"/>
          </a:xfrm>
        </p:spPr>
        <p:txBody>
          <a:bodyPr>
            <a:normAutofit/>
          </a:bodyPr>
          <a:lstStyle/>
          <a:p>
            <a:pPr marL="0" indent="0" algn="ctr">
              <a:buNone/>
            </a:pPr>
            <a:r>
              <a:rPr lang="en-US" dirty="0"/>
              <a:t>Use the defaults unless you NEED to do otherwise.</a:t>
            </a:r>
          </a:p>
          <a:p>
            <a:pPr marL="0" indent="0" algn="ctr">
              <a:buNone/>
            </a:pPr>
            <a:endParaRPr lang="en-US" sz="1600" dirty="0"/>
          </a:p>
          <a:p>
            <a:pPr marL="0" indent="0" algn="ctr">
              <a:buNone/>
            </a:pPr>
            <a:r>
              <a:rPr lang="en-US" dirty="0"/>
              <a:t>Do not enable auto-create statistics on SharePoint content database.</a:t>
            </a:r>
          </a:p>
          <a:p>
            <a:pPr marL="0" indent="0" algn="ctr">
              <a:buNone/>
            </a:pPr>
            <a:endParaRPr lang="en-US" sz="1600" dirty="0"/>
          </a:p>
          <a:p>
            <a:pPr marL="0" indent="0" algn="ctr">
              <a:buNone/>
            </a:pPr>
            <a:r>
              <a:rPr lang="en-US" dirty="0"/>
              <a:t>The small sample rate of AUTO_UPDATE_STATISTICS can cause some workloads to choose sub-optimal execution plans.</a:t>
            </a:r>
          </a:p>
        </p:txBody>
      </p:sp>
      <p:sp>
        <p:nvSpPr>
          <p:cNvPr id="9" name="Title 1">
            <a:extLst>
              <a:ext uri="{FF2B5EF4-FFF2-40B4-BE49-F238E27FC236}">
                <a16:creationId xmlns:a16="http://schemas.microsoft.com/office/drawing/2014/main" id="{0CDAE15D-DF5A-43C1-BD5B-C562F5F02631}"/>
              </a:ext>
            </a:extLst>
          </p:cNvPr>
          <p:cNvSpPr>
            <a:spLocks noGrp="1"/>
          </p:cNvSpPr>
          <p:nvPr>
            <p:ph type="title"/>
          </p:nvPr>
        </p:nvSpPr>
        <p:spPr>
          <a:xfrm>
            <a:off x="655638" y="320040"/>
            <a:ext cx="10880725" cy="461665"/>
          </a:xfrm>
        </p:spPr>
        <p:txBody>
          <a:bodyPr/>
          <a:lstStyle/>
          <a:p>
            <a:r>
              <a:rPr lang="en-US" dirty="0"/>
              <a:t>Automatically created statistics</a:t>
            </a:r>
          </a:p>
        </p:txBody>
      </p:sp>
      <p:sp>
        <p:nvSpPr>
          <p:cNvPr id="11" name="Subtitle 2">
            <a:extLst>
              <a:ext uri="{FF2B5EF4-FFF2-40B4-BE49-F238E27FC236}">
                <a16:creationId xmlns:a16="http://schemas.microsoft.com/office/drawing/2014/main" id="{CC03148F-1517-4D35-A66E-DE99A3BB156B}"/>
              </a:ext>
            </a:extLst>
          </p:cNvPr>
          <p:cNvSpPr>
            <a:spLocks noGrp="1"/>
          </p:cNvSpPr>
          <p:nvPr>
            <p:ph type="subTitle" idx="1"/>
          </p:nvPr>
        </p:nvSpPr>
        <p:spPr>
          <a:xfrm>
            <a:off x="655637" y="786383"/>
            <a:ext cx="10880725" cy="461665"/>
          </a:xfrm>
        </p:spPr>
        <p:txBody>
          <a:bodyPr/>
          <a:lstStyle/>
          <a:p>
            <a:r>
              <a:rPr lang="en-US" dirty="0"/>
              <a:t>Database options that affects automatic statistics creation and update</a:t>
            </a:r>
          </a:p>
        </p:txBody>
      </p:sp>
    </p:spTree>
    <p:extLst>
      <p:ext uri="{BB962C8B-B14F-4D97-AF65-F5344CB8AC3E}">
        <p14:creationId xmlns:p14="http://schemas.microsoft.com/office/powerpoint/2010/main" val="32352700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Manually created Statistics</a:t>
            </a:r>
          </a:p>
        </p:txBody>
      </p:sp>
      <p:sp>
        <p:nvSpPr>
          <p:cNvPr id="6" name="Rectangle 5">
            <a:extLst>
              <a:ext uri="{FF2B5EF4-FFF2-40B4-BE49-F238E27FC236}">
                <a16:creationId xmlns:a16="http://schemas.microsoft.com/office/drawing/2014/main" id="{41B55EDD-D7CB-4208-B3C7-2EF2D4849CC2}"/>
              </a:ext>
            </a:extLst>
          </p:cNvPr>
          <p:cNvSpPr/>
          <p:nvPr/>
        </p:nvSpPr>
        <p:spPr>
          <a:xfrm>
            <a:off x="655637" y="4262323"/>
            <a:ext cx="11231562" cy="995477"/>
          </a:xfrm>
          <a:prstGeom prst="rect">
            <a:avLst/>
          </a:prstGeom>
          <a:ln>
            <a:solidFill>
              <a:schemeClr val="accent1"/>
            </a:solidFill>
          </a:ln>
          <a:effectLst/>
        </p:spPr>
        <p:txBody>
          <a:bodyPr wrap="square">
            <a:noAutofit/>
          </a:bodyPr>
          <a:lstStyle/>
          <a:p>
            <a:r>
              <a:rPr lang="en-US" dirty="0">
                <a:solidFill>
                  <a:srgbClr val="0000FF"/>
                </a:solidFill>
                <a:latin typeface="Consolas" panose="020B0609020204030204" pitchFamily="49" charset="0"/>
              </a:rPr>
              <a:t>CREATE</a:t>
            </a:r>
            <a:r>
              <a:rPr lang="en-US" dirty="0">
                <a:solidFill>
                  <a:srgbClr val="000000"/>
                </a:solidFill>
                <a:latin typeface="Consolas" panose="020B0609020204030204" pitchFamily="49" charset="0"/>
              </a:rPr>
              <a:t> </a:t>
            </a:r>
            <a:r>
              <a:rPr lang="en-US" dirty="0">
                <a:solidFill>
                  <a:srgbClr val="0000FF"/>
                </a:solidFill>
                <a:latin typeface="Consolas" panose="020B0609020204030204" pitchFamily="49" charset="0"/>
              </a:rPr>
              <a:t>STATISTICS</a:t>
            </a:r>
            <a:r>
              <a:rPr lang="en-US" dirty="0">
                <a:solidFill>
                  <a:srgbClr val="000000"/>
                </a:solidFill>
                <a:latin typeface="Consolas" panose="020B0609020204030204" pitchFamily="49" charset="0"/>
              </a:rPr>
              <a:t> ContactPromotion1  </a:t>
            </a:r>
          </a:p>
          <a:p>
            <a:r>
              <a:rPr lang="en-US" dirty="0">
                <a:solidFill>
                  <a:srgbClr val="0000FF"/>
                </a:solidFill>
                <a:latin typeface="Consolas" panose="020B0609020204030204" pitchFamily="49" charset="0"/>
              </a:rPr>
              <a:t>ON</a:t>
            </a:r>
            <a:r>
              <a:rPr lang="en-US" dirty="0">
                <a:solidFill>
                  <a:srgbClr val="000000"/>
                </a:solidFill>
                <a:latin typeface="Consolas" panose="020B0609020204030204" pitchFamily="49" charset="0"/>
              </a:rPr>
              <a:t> Pers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Person</a:t>
            </a:r>
            <a:r>
              <a:rPr lang="en-US" dirty="0">
                <a:solidFill>
                  <a:srgbClr val="0000FF"/>
                </a:solidFill>
                <a:latin typeface="Consolas" panose="020B0609020204030204" pitchFamily="49" charset="0"/>
              </a:rPr>
              <a:t> </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BusinessEntityID</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LastName</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EmailPromotion</a:t>
            </a:r>
            <a:r>
              <a:rPr lang="en-US" dirty="0">
                <a:solidFill>
                  <a:srgbClr val="808080"/>
                </a:solidFill>
                <a:latin typeface="Consolas" panose="020B0609020204030204" pitchFamily="49" charset="0"/>
              </a:rPr>
              <a:t>)</a:t>
            </a:r>
            <a:r>
              <a:rPr lang="en-US" dirty="0">
                <a:solidFill>
                  <a:srgbClr val="000000"/>
                </a:solidFill>
                <a:latin typeface="Consolas" panose="020B0609020204030204" pitchFamily="49" charset="0"/>
              </a:rPr>
              <a:t>  </a:t>
            </a:r>
          </a:p>
        </p:txBody>
      </p:sp>
      <p:graphicFrame>
        <p:nvGraphicFramePr>
          <p:cNvPr id="4" name="Content Placeholder 3">
            <a:extLst>
              <a:ext uri="{FF2B5EF4-FFF2-40B4-BE49-F238E27FC236}">
                <a16:creationId xmlns:a16="http://schemas.microsoft.com/office/drawing/2014/main" id="{020918F4-593F-4E81-8F38-DA08D35AF3F3}"/>
              </a:ext>
            </a:extLst>
          </p:cNvPr>
          <p:cNvGraphicFramePr>
            <a:graphicFrameLocks noGrp="1"/>
          </p:cNvGraphicFramePr>
          <p:nvPr>
            <p:ph sz="quarter" idx="13"/>
          </p:nvPr>
        </p:nvGraphicFramePr>
        <p:xfrm>
          <a:off x="655638" y="1708037"/>
          <a:ext cx="11155362" cy="2097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865997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Available tools to review statistics</a:t>
            </a:r>
          </a:p>
        </p:txBody>
      </p:sp>
      <p:graphicFrame>
        <p:nvGraphicFramePr>
          <p:cNvPr id="7" name="Table 6">
            <a:extLst>
              <a:ext uri="{FF2B5EF4-FFF2-40B4-BE49-F238E27FC236}">
                <a16:creationId xmlns:a16="http://schemas.microsoft.com/office/drawing/2014/main" id="{4B8D29B1-71F5-48E9-8566-68DEE7013FF4}"/>
              </a:ext>
            </a:extLst>
          </p:cNvPr>
          <p:cNvGraphicFramePr>
            <a:graphicFrameLocks noGrp="1"/>
          </p:cNvGraphicFramePr>
          <p:nvPr/>
        </p:nvGraphicFramePr>
        <p:xfrm>
          <a:off x="213518" y="1248048"/>
          <a:ext cx="11764961" cy="4844229"/>
        </p:xfrm>
        <a:graphic>
          <a:graphicData uri="http://schemas.openxmlformats.org/drawingml/2006/table">
            <a:tbl>
              <a:tblPr firstRow="1" bandRow="1">
                <a:tableStyleId>{69012ECD-51FC-41F1-AA8D-1B2483CD663E}</a:tableStyleId>
              </a:tblPr>
              <a:tblGrid>
                <a:gridCol w="4053682">
                  <a:extLst>
                    <a:ext uri="{9D8B030D-6E8A-4147-A177-3AD203B41FA5}">
                      <a16:colId xmlns:a16="http://schemas.microsoft.com/office/drawing/2014/main" val="3903855093"/>
                    </a:ext>
                  </a:extLst>
                </a:gridCol>
                <a:gridCol w="1447800">
                  <a:extLst>
                    <a:ext uri="{9D8B030D-6E8A-4147-A177-3AD203B41FA5}">
                      <a16:colId xmlns:a16="http://schemas.microsoft.com/office/drawing/2014/main" val="651329258"/>
                    </a:ext>
                  </a:extLst>
                </a:gridCol>
                <a:gridCol w="1295400">
                  <a:extLst>
                    <a:ext uri="{9D8B030D-6E8A-4147-A177-3AD203B41FA5}">
                      <a16:colId xmlns:a16="http://schemas.microsoft.com/office/drawing/2014/main" val="2855330300"/>
                    </a:ext>
                  </a:extLst>
                </a:gridCol>
                <a:gridCol w="1143000">
                  <a:extLst>
                    <a:ext uri="{9D8B030D-6E8A-4147-A177-3AD203B41FA5}">
                      <a16:colId xmlns:a16="http://schemas.microsoft.com/office/drawing/2014/main" val="3625892416"/>
                    </a:ext>
                  </a:extLst>
                </a:gridCol>
                <a:gridCol w="1219200">
                  <a:extLst>
                    <a:ext uri="{9D8B030D-6E8A-4147-A177-3AD203B41FA5}">
                      <a16:colId xmlns:a16="http://schemas.microsoft.com/office/drawing/2014/main" val="4082711152"/>
                    </a:ext>
                  </a:extLst>
                </a:gridCol>
                <a:gridCol w="1295400">
                  <a:extLst>
                    <a:ext uri="{9D8B030D-6E8A-4147-A177-3AD203B41FA5}">
                      <a16:colId xmlns:a16="http://schemas.microsoft.com/office/drawing/2014/main" val="109496037"/>
                    </a:ext>
                  </a:extLst>
                </a:gridCol>
                <a:gridCol w="1310479">
                  <a:extLst>
                    <a:ext uri="{9D8B030D-6E8A-4147-A177-3AD203B41FA5}">
                      <a16:colId xmlns:a16="http://schemas.microsoft.com/office/drawing/2014/main" val="4181603895"/>
                    </a:ext>
                  </a:extLst>
                </a:gridCol>
              </a:tblGrid>
              <a:tr h="739435">
                <a:tc>
                  <a:txBody>
                    <a:bodyPr/>
                    <a:lstStyle/>
                    <a:p>
                      <a:pPr algn="ctr"/>
                      <a:endParaRPr lang="en-US" sz="1600" dirty="0"/>
                    </a:p>
                  </a:txBody>
                  <a:tcPr/>
                </a:tc>
                <a:tc>
                  <a:txBody>
                    <a:bodyPr/>
                    <a:lstStyle/>
                    <a:p>
                      <a:pPr algn="ctr"/>
                      <a:r>
                        <a:rPr lang="en-US" sz="1600" dirty="0"/>
                        <a:t>Metadata</a:t>
                      </a:r>
                    </a:p>
                  </a:txBody>
                  <a:tcPr/>
                </a:tc>
                <a:tc>
                  <a:txBody>
                    <a:bodyPr/>
                    <a:lstStyle/>
                    <a:p>
                      <a:pPr algn="ctr"/>
                      <a:r>
                        <a:rPr lang="en-US" sz="1600" dirty="0"/>
                        <a:t>Last Update</a:t>
                      </a:r>
                      <a:r>
                        <a:rPr lang="en-US" sz="1600" baseline="0" dirty="0"/>
                        <a:t> Date</a:t>
                      </a:r>
                      <a:endParaRPr lang="en-US" sz="1600" dirty="0"/>
                    </a:p>
                  </a:txBody>
                  <a:tcPr/>
                </a:tc>
                <a:tc>
                  <a:txBody>
                    <a:bodyPr/>
                    <a:lstStyle/>
                    <a:p>
                      <a:pPr algn="ctr"/>
                      <a:r>
                        <a:rPr lang="en-US" sz="1600" dirty="0"/>
                        <a:t>Sampling Rate</a:t>
                      </a:r>
                    </a:p>
                  </a:txBody>
                  <a:tcPr/>
                </a:tc>
                <a:tc>
                  <a:txBody>
                    <a:bodyPr/>
                    <a:lstStyle/>
                    <a:p>
                      <a:pPr algn="ctr"/>
                      <a:r>
                        <a:rPr lang="en-US" sz="1600" dirty="0"/>
                        <a:t>Row Mod</a:t>
                      </a:r>
                      <a:r>
                        <a:rPr lang="en-US" sz="1600" baseline="0" dirty="0"/>
                        <a:t> Counter</a:t>
                      </a:r>
                      <a:endParaRPr lang="en-US" sz="1600" dirty="0"/>
                    </a:p>
                  </a:txBody>
                  <a:tcPr/>
                </a:tc>
                <a:tc>
                  <a:txBody>
                    <a:bodyPr/>
                    <a:lstStyle/>
                    <a:p>
                      <a:pPr algn="ctr"/>
                      <a:r>
                        <a:rPr lang="en-US" sz="1600" dirty="0"/>
                        <a:t>Density Vector</a:t>
                      </a:r>
                    </a:p>
                  </a:txBody>
                  <a:tcPr/>
                </a:tc>
                <a:tc>
                  <a:txBody>
                    <a:bodyPr/>
                    <a:lstStyle/>
                    <a:p>
                      <a:pPr algn="ctr"/>
                      <a:r>
                        <a:rPr lang="en-US" sz="1600" dirty="0"/>
                        <a:t>Histogram</a:t>
                      </a:r>
                    </a:p>
                  </a:txBody>
                  <a:tcPr/>
                </a:tc>
                <a:extLst>
                  <a:ext uri="{0D108BD9-81ED-4DB2-BD59-A6C34878D82A}">
                    <a16:rowId xmlns:a16="http://schemas.microsoft.com/office/drawing/2014/main" val="1182805396"/>
                  </a:ext>
                </a:extLst>
              </a:tr>
              <a:tr h="529164">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ys.stats</a:t>
                      </a:r>
                    </a:p>
                  </a:txBody>
                  <a:tcPr anchor="ctr"/>
                </a:tc>
                <a:tc>
                  <a:txBody>
                    <a:bodyPr/>
                    <a:lstStyle/>
                    <a:p>
                      <a:pPr algn="ctr"/>
                      <a:r>
                        <a:rPr lang="en-US" sz="1600" dirty="0"/>
                        <a:t>X</a:t>
                      </a:r>
                    </a:p>
                  </a:txBody>
                  <a:tcPr anchor="ctr"/>
                </a:tc>
                <a:tc>
                  <a:txBody>
                    <a:bodyPr/>
                    <a:lstStyle/>
                    <a:p>
                      <a:pPr algn="ct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3936519678"/>
                  </a:ext>
                </a:extLst>
              </a:tr>
              <a:tr h="52030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TATS_DATE()</a:t>
                      </a:r>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2474727839"/>
                  </a:ext>
                </a:extLst>
              </a:tr>
              <a:tr h="6858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ys.dm_db_stats_properties (object_id, stats_id)</a:t>
                      </a:r>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1916313289"/>
                  </a:ext>
                </a:extLst>
              </a:tr>
              <a:tr h="6858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sys.dm_db_incremental_stats_properties (object_id, stats_id) </a:t>
                      </a:r>
                      <a:endParaRPr lang="en-US" sz="1600" dirty="0"/>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algn="ctr"/>
                      <a:endParaRPr lang="en-US" sz="1600" dirty="0"/>
                    </a:p>
                  </a:txBody>
                  <a:tcPr anchor="ctr"/>
                </a:tc>
                <a:tc>
                  <a:txBody>
                    <a:bodyPr/>
                    <a:lstStyle/>
                    <a:p>
                      <a:pPr algn="ctr"/>
                      <a:endParaRPr lang="en-US" sz="1600" dirty="0"/>
                    </a:p>
                  </a:txBody>
                  <a:tcPr anchor="ctr"/>
                </a:tc>
                <a:extLst>
                  <a:ext uri="{0D108BD9-81ED-4DB2-BD59-A6C34878D82A}">
                    <a16:rowId xmlns:a16="http://schemas.microsoft.com/office/drawing/2014/main" val="314108976"/>
                  </a:ext>
                </a:extLst>
              </a:tr>
              <a:tr h="6858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effectLst/>
                        </a:rPr>
                        <a:t>sys.dm_db_stats_histogram (object_id, stats_id) </a:t>
                      </a:r>
                      <a:endParaRPr lang="en-US" sz="1600" dirty="0"/>
                    </a:p>
                  </a:txBody>
                  <a:tcPr anchor="ctr"/>
                </a:tc>
                <a:tc>
                  <a:txBody>
                    <a:bodyPr/>
                    <a:lstStyle/>
                    <a:p>
                      <a:pPr algn="ctr"/>
                      <a:endParaRPr lang="en-US" sz="1600" dirty="0"/>
                    </a:p>
                  </a:txBody>
                  <a:tcPr anchor="ctr"/>
                </a:tc>
                <a:tc>
                  <a:txBody>
                    <a:bodyPr/>
                    <a:lstStyle/>
                    <a:p>
                      <a:pPr algn="ct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endParaRPr lang="en-US" sz="1600" dirty="0"/>
                    </a:p>
                  </a:txBody>
                  <a:tcPr anchor="ctr"/>
                </a:tc>
                <a:tc>
                  <a:txBody>
                    <a:bodyPr/>
                    <a:lstStyle/>
                    <a:p>
                      <a:pPr algn="ctr"/>
                      <a:r>
                        <a:rPr lang="es-MX" sz="1600" dirty="0"/>
                        <a:t>X</a:t>
                      </a:r>
                      <a:endParaRPr lang="en-US" sz="1600" dirty="0"/>
                    </a:p>
                  </a:txBody>
                  <a:tcPr anchor="ctr"/>
                </a:tc>
                <a:extLst>
                  <a:ext uri="{0D108BD9-81ED-4DB2-BD59-A6C34878D82A}">
                    <a16:rowId xmlns:a16="http://schemas.microsoft.com/office/drawing/2014/main" val="3695474142"/>
                  </a:ext>
                </a:extLst>
              </a:tr>
              <a:tr h="457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SQL Server Mgt</a:t>
                      </a:r>
                      <a:r>
                        <a:rPr lang="en-US" sz="1600" baseline="0" dirty="0"/>
                        <a:t> </a:t>
                      </a:r>
                      <a:r>
                        <a:rPr lang="en-US" sz="1600" dirty="0"/>
                        <a:t>Studio</a:t>
                      </a:r>
                    </a:p>
                  </a:txBody>
                  <a:tcPr anchor="ctr"/>
                </a:tc>
                <a:tc>
                  <a:txBody>
                    <a:bodyPr/>
                    <a:lstStyle/>
                    <a:p>
                      <a:pPr algn="ctr"/>
                      <a:r>
                        <a:rPr lang="en-US" sz="1600" dirty="0"/>
                        <a:t>X</a:t>
                      </a:r>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algn="ctr"/>
                      <a:r>
                        <a:rPr lang="en-US" sz="1600" dirty="0"/>
                        <a:t>X</a:t>
                      </a:r>
                    </a:p>
                  </a:txBody>
                  <a:tcPr anchor="ctr"/>
                </a:tc>
                <a:tc>
                  <a:txBody>
                    <a:bodyPr/>
                    <a:lstStyle/>
                    <a:p>
                      <a:pPr algn="ctr"/>
                      <a:r>
                        <a:rPr lang="en-US" sz="1600" dirty="0"/>
                        <a:t>X</a:t>
                      </a:r>
                    </a:p>
                  </a:txBody>
                  <a:tcPr anchor="ctr"/>
                </a:tc>
                <a:extLst>
                  <a:ext uri="{0D108BD9-81ED-4DB2-BD59-A6C34878D82A}">
                    <a16:rowId xmlns:a16="http://schemas.microsoft.com/office/drawing/2014/main" val="3169045468"/>
                  </a:ext>
                </a:extLst>
              </a:tr>
              <a:tr h="45720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600" dirty="0"/>
                        <a:t>DBCC SHOW_STATISTICS</a:t>
                      </a:r>
                    </a:p>
                  </a:txBody>
                  <a:tcPr anchor="ctr"/>
                </a:tc>
                <a:tc>
                  <a:txBody>
                    <a:bodyPr/>
                    <a:lstStyle/>
                    <a:p>
                      <a:pPr algn="ctr"/>
                      <a:endParaRPr lang="en-US" sz="1600" dirty="0"/>
                    </a:p>
                  </a:txBody>
                  <a:tcPr anchor="ctr"/>
                </a:tc>
                <a:tc>
                  <a:txBody>
                    <a:bodyPr/>
                    <a:lstStyle/>
                    <a:p>
                      <a:pPr algn="ct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dirty="0"/>
                        <a:t>X</a:t>
                      </a:r>
                    </a:p>
                  </a:txBody>
                  <a:tcPr anchor="ctr"/>
                </a:tc>
                <a:tc>
                  <a:txBody>
                    <a:bodyPr/>
                    <a:lstStyle/>
                    <a:p>
                      <a:pPr algn="ctr"/>
                      <a:r>
                        <a:rPr lang="en-US" sz="1600" dirty="0"/>
                        <a:t>X</a:t>
                      </a:r>
                    </a:p>
                  </a:txBody>
                  <a:tcPr anchor="ctr"/>
                </a:tc>
                <a:tc>
                  <a:txBody>
                    <a:bodyPr/>
                    <a:lstStyle/>
                    <a:p>
                      <a:pPr algn="ctr"/>
                      <a:r>
                        <a:rPr lang="en-US" sz="1600" dirty="0"/>
                        <a:t>X</a:t>
                      </a:r>
                    </a:p>
                  </a:txBody>
                  <a:tcPr anchor="ctr"/>
                </a:tc>
                <a:extLst>
                  <a:ext uri="{0D108BD9-81ED-4DB2-BD59-A6C34878D82A}">
                    <a16:rowId xmlns:a16="http://schemas.microsoft.com/office/drawing/2014/main" val="3963070066"/>
                  </a:ext>
                </a:extLst>
              </a:tr>
            </a:tbl>
          </a:graphicData>
        </a:graphic>
      </p:graphicFrame>
    </p:spTree>
    <p:extLst>
      <p:ext uri="{BB962C8B-B14F-4D97-AF65-F5344CB8AC3E}">
        <p14:creationId xmlns:p14="http://schemas.microsoft.com/office/powerpoint/2010/main" val="16818816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ploring statistic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416877110"/>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556465075"/>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3FE3974B-444F-4427-8DE0-3DDCE6ABE1D0}"/>
              </a:ext>
            </a:extLst>
          </p:cNvPr>
          <p:cNvGraphicFramePr>
            <a:graphicFrameLocks noGrp="1"/>
          </p:cNvGraphicFramePr>
          <p:nvPr>
            <p:ph sz="quarter" idx="13"/>
            <p:extLst>
              <p:ext uri="{D42A27DB-BD31-4B8C-83A1-F6EECF244321}">
                <p14:modId xmlns:p14="http://schemas.microsoft.com/office/powerpoint/2010/main" val="2777087283"/>
              </p:ext>
            </p:extLst>
          </p:nvPr>
        </p:nvGraphicFramePr>
        <p:xfrm>
          <a:off x="20425" y="1466959"/>
          <a:ext cx="6354763" cy="4572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Content Placeholder 3">
            <a:extLst>
              <a:ext uri="{FF2B5EF4-FFF2-40B4-BE49-F238E27FC236}">
                <a16:creationId xmlns:a16="http://schemas.microsoft.com/office/drawing/2014/main" id="{C2382317-9B10-47B8-B7C9-2FF2A2F5E50F}"/>
              </a:ext>
            </a:extLst>
          </p:cNvPr>
          <p:cNvPicPr>
            <a:picLocks noChangeAspect="1"/>
          </p:cNvPicPr>
          <p:nvPr/>
        </p:nvPicPr>
        <p:blipFill rotWithShape="1">
          <a:blip r:embed="rId8">
            <a:extLst>
              <a:ext uri="{28A0092B-C50C-407E-A947-70E740481C1C}">
                <a14:useLocalDpi xmlns:a14="http://schemas.microsoft.com/office/drawing/2010/main" val="0"/>
              </a:ext>
            </a:extLst>
          </a:blip>
          <a:srcRect b="23125"/>
          <a:stretch/>
        </p:blipFill>
        <p:spPr>
          <a:xfrm>
            <a:off x="6248400" y="1466959"/>
            <a:ext cx="4572000" cy="4572001"/>
          </a:xfrm>
          <a:prstGeom prst="rect">
            <a:avLst/>
          </a:prstGeom>
          <a:ln>
            <a:noFill/>
          </a:ln>
          <a:effectLst>
            <a:outerShdw blurRad="190500" algn="tl" rotWithShape="0">
              <a:srgbClr val="000000">
                <a:alpha val="70000"/>
              </a:srgbClr>
            </a:outerShdw>
          </a:effectLst>
        </p:spPr>
      </p:pic>
      <p:sp>
        <p:nvSpPr>
          <p:cNvPr id="9" name="Title 8">
            <a:extLst>
              <a:ext uri="{FF2B5EF4-FFF2-40B4-BE49-F238E27FC236}">
                <a16:creationId xmlns:a16="http://schemas.microsoft.com/office/drawing/2014/main" id="{FD23E433-69B8-4DF9-FA13-71888E60BDC3}"/>
              </a:ext>
            </a:extLst>
          </p:cNvPr>
          <p:cNvSpPr>
            <a:spLocks noGrp="1"/>
          </p:cNvSpPr>
          <p:nvPr>
            <p:ph type="title"/>
          </p:nvPr>
        </p:nvSpPr>
        <p:spPr/>
        <p:txBody>
          <a:bodyPr/>
          <a:lstStyle/>
          <a:p>
            <a:r>
              <a:rPr lang="en-US" dirty="0"/>
              <a:t>What is SARGability?</a:t>
            </a:r>
          </a:p>
        </p:txBody>
      </p:sp>
    </p:spTree>
    <p:extLst>
      <p:ext uri="{BB962C8B-B14F-4D97-AF65-F5344CB8AC3E}">
        <p14:creationId xmlns:p14="http://schemas.microsoft.com/office/powerpoint/2010/main" val="2796647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3">
            <a:extLst>
              <a:ext uri="{FF2B5EF4-FFF2-40B4-BE49-F238E27FC236}">
                <a16:creationId xmlns:a16="http://schemas.microsoft.com/office/drawing/2014/main" id="{9F995241-A663-48AE-BDAE-00CA5CD1CC06}"/>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chemeClr val="dk1"/>
                </a:solidFill>
                <a:latin typeface="Segoe UI Semibold" panose="020B0702040204020203" pitchFamily="34" charset="0"/>
              </a:rPr>
              <a:t>How Data is stored in a Database</a:t>
            </a:r>
          </a:p>
        </p:txBody>
      </p:sp>
      <p:sp>
        <p:nvSpPr>
          <p:cNvPr id="66" name="TextBox 65">
            <a:extLst>
              <a:ext uri="{FF2B5EF4-FFF2-40B4-BE49-F238E27FC236}">
                <a16:creationId xmlns:a16="http://schemas.microsoft.com/office/drawing/2014/main" id="{A69040B5-756D-4667-B16A-10F581BC60A4}"/>
              </a:ext>
            </a:extLst>
          </p:cNvPr>
          <p:cNvSpPr txBox="1"/>
          <p:nvPr/>
        </p:nvSpPr>
        <p:spPr>
          <a:xfrm>
            <a:off x="1282749" y="4919872"/>
            <a:ext cx="2925686" cy="633625"/>
          </a:xfrm>
          <a:prstGeom prst="rect">
            <a:avLst/>
          </a:prstGeom>
          <a:noFill/>
        </p:spPr>
        <p:txBody>
          <a:bodyPr wrap="square" rtlCol="0">
            <a:spAutoFit/>
          </a:bodyPr>
          <a:lstStyle/>
          <a:p>
            <a:pPr defTabSz="896386">
              <a:defRPr/>
            </a:pPr>
            <a:r>
              <a:rPr lang="en-US" sz="1765" kern="0" dirty="0">
                <a:solidFill>
                  <a:prstClr val="black"/>
                </a:solidFill>
              </a:rPr>
              <a:t>Primary Data File (.mdf)</a:t>
            </a:r>
          </a:p>
          <a:p>
            <a:pPr defTabSz="896386">
              <a:defRPr/>
            </a:pPr>
            <a:r>
              <a:rPr lang="en-US" sz="1765" kern="0" dirty="0">
                <a:solidFill>
                  <a:prstClr val="black"/>
                </a:solidFill>
              </a:rPr>
              <a:t>Secondary Data File (.ndf)</a:t>
            </a:r>
          </a:p>
        </p:txBody>
      </p:sp>
      <p:grpSp>
        <p:nvGrpSpPr>
          <p:cNvPr id="67" name="Group 66">
            <a:extLst>
              <a:ext uri="{FF2B5EF4-FFF2-40B4-BE49-F238E27FC236}">
                <a16:creationId xmlns:a16="http://schemas.microsoft.com/office/drawing/2014/main" id="{19E02A53-8879-4CF4-9BAC-3552F498A3A2}"/>
              </a:ext>
            </a:extLst>
          </p:cNvPr>
          <p:cNvGrpSpPr/>
          <p:nvPr/>
        </p:nvGrpSpPr>
        <p:grpSpPr>
          <a:xfrm>
            <a:off x="5154489" y="1645975"/>
            <a:ext cx="5934465" cy="3907521"/>
            <a:chOff x="5162090" y="1112896"/>
            <a:chExt cx="6053463" cy="3985875"/>
          </a:xfrm>
        </p:grpSpPr>
        <p:sp>
          <p:nvSpPr>
            <p:cNvPr id="68" name="Rounded Rectangle 19">
              <a:extLst>
                <a:ext uri="{FF2B5EF4-FFF2-40B4-BE49-F238E27FC236}">
                  <a16:creationId xmlns:a16="http://schemas.microsoft.com/office/drawing/2014/main" id="{CCFC7E3B-C1FD-4C40-BF49-AB7182DBE708}"/>
                </a:ext>
              </a:extLst>
            </p:cNvPr>
            <p:cNvSpPr/>
            <p:nvPr/>
          </p:nvSpPr>
          <p:spPr>
            <a:xfrm rot="5400000">
              <a:off x="6147244" y="127742"/>
              <a:ext cx="3985875" cy="5956184"/>
            </a:xfrm>
            <a:prstGeom prst="roundRect">
              <a:avLst/>
            </a:prstGeom>
            <a:solidFill>
              <a:sysClr val="window" lastClr="FFFFFF"/>
            </a:solidFill>
            <a:ln w="25400" cap="flat" cmpd="sng" algn="ctr">
              <a:solidFill>
                <a:srgbClr val="424CA0">
                  <a:shade val="50000"/>
                </a:srgbClr>
              </a:solidFill>
              <a:prstDash val="solid"/>
            </a:ln>
            <a:effectLst/>
          </p:spPr>
          <p:txBody>
            <a:bodyPr rtlCol="0" anchor="ctr"/>
            <a:lstStyle/>
            <a:p>
              <a:pPr algn="ctr" defTabSz="672290">
                <a:defRPr/>
              </a:pPr>
              <a:endParaRPr lang="en-US" sz="1176" kern="0" dirty="0">
                <a:solidFill>
                  <a:prstClr val="white"/>
                </a:solidFill>
                <a:latin typeface="Calibri" panose="020F0502020204030204" pitchFamily="34" charset="0"/>
              </a:endParaRPr>
            </a:p>
          </p:txBody>
        </p:sp>
        <p:grpSp>
          <p:nvGrpSpPr>
            <p:cNvPr id="69" name="Group 68">
              <a:extLst>
                <a:ext uri="{FF2B5EF4-FFF2-40B4-BE49-F238E27FC236}">
                  <a16:creationId xmlns:a16="http://schemas.microsoft.com/office/drawing/2014/main" id="{9CDDB8B6-F4E7-47A6-93E9-0F93AB0BCF20}"/>
                </a:ext>
              </a:extLst>
            </p:cNvPr>
            <p:cNvGrpSpPr/>
            <p:nvPr/>
          </p:nvGrpSpPr>
          <p:grpSpPr>
            <a:xfrm>
              <a:off x="5458698" y="1540993"/>
              <a:ext cx="5308429" cy="2866415"/>
              <a:chOff x="5458698" y="1540993"/>
              <a:chExt cx="5308429" cy="2866415"/>
            </a:xfrm>
          </p:grpSpPr>
          <p:grpSp>
            <p:nvGrpSpPr>
              <p:cNvPr id="71" name="Group 70">
                <a:extLst>
                  <a:ext uri="{FF2B5EF4-FFF2-40B4-BE49-F238E27FC236}">
                    <a16:creationId xmlns:a16="http://schemas.microsoft.com/office/drawing/2014/main" id="{3BF7BFFE-3D9A-4464-B886-65D7F712EED4}"/>
                  </a:ext>
                </a:extLst>
              </p:cNvPr>
              <p:cNvGrpSpPr/>
              <p:nvPr/>
            </p:nvGrpSpPr>
            <p:grpSpPr>
              <a:xfrm>
                <a:off x="5458698" y="1540993"/>
                <a:ext cx="5308429" cy="1371530"/>
                <a:chOff x="5458698" y="1540993"/>
                <a:chExt cx="5308429" cy="1371530"/>
              </a:xfrm>
            </p:grpSpPr>
            <p:grpSp>
              <p:nvGrpSpPr>
                <p:cNvPr id="98" name="Group 97">
                  <a:extLst>
                    <a:ext uri="{FF2B5EF4-FFF2-40B4-BE49-F238E27FC236}">
                      <a16:creationId xmlns:a16="http://schemas.microsoft.com/office/drawing/2014/main" id="{2E235748-E653-4168-9F84-0125CAC2C385}"/>
                    </a:ext>
                  </a:extLst>
                </p:cNvPr>
                <p:cNvGrpSpPr/>
                <p:nvPr/>
              </p:nvGrpSpPr>
              <p:grpSpPr>
                <a:xfrm>
                  <a:off x="5458698" y="1540993"/>
                  <a:ext cx="1259068" cy="1371530"/>
                  <a:chOff x="7503683" y="1417638"/>
                  <a:chExt cx="2020612" cy="1371530"/>
                </a:xfrm>
              </p:grpSpPr>
              <p:sp>
                <p:nvSpPr>
                  <p:cNvPr id="170" name="Rounded Rectangle 30">
                    <a:extLst>
                      <a:ext uri="{FF2B5EF4-FFF2-40B4-BE49-F238E27FC236}">
                        <a16:creationId xmlns:a16="http://schemas.microsoft.com/office/drawing/2014/main" id="{C148D7DD-6D13-4554-B6BD-67E424113042}"/>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896386">
                      <a:defRPr/>
                    </a:pPr>
                    <a:endParaRPr lang="en-US" sz="1176" kern="0">
                      <a:solidFill>
                        <a:sysClr val="windowText" lastClr="000000"/>
                      </a:solidFill>
                      <a:latin typeface="Segoe UI"/>
                    </a:endParaRPr>
                  </a:p>
                </p:txBody>
              </p:sp>
              <p:sp>
                <p:nvSpPr>
                  <p:cNvPr id="171" name="Rectangle 170">
                    <a:extLst>
                      <a:ext uri="{FF2B5EF4-FFF2-40B4-BE49-F238E27FC236}">
                        <a16:creationId xmlns:a16="http://schemas.microsoft.com/office/drawing/2014/main" id="{C91246D1-CEC2-4D62-BF2E-552A3DEE0964}"/>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72" name="Rectangle 171">
                    <a:extLst>
                      <a:ext uri="{FF2B5EF4-FFF2-40B4-BE49-F238E27FC236}">
                        <a16:creationId xmlns:a16="http://schemas.microsoft.com/office/drawing/2014/main" id="{C6BAEE97-36D5-42C3-86F7-BF4B5F98169C}"/>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73" name="Rectangle 172">
                    <a:extLst>
                      <a:ext uri="{FF2B5EF4-FFF2-40B4-BE49-F238E27FC236}">
                        <a16:creationId xmlns:a16="http://schemas.microsoft.com/office/drawing/2014/main" id="{299A9516-1033-4F53-90A4-BFA42669D5A5}"/>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74" name="Rectangle 173">
                    <a:extLst>
                      <a:ext uri="{FF2B5EF4-FFF2-40B4-BE49-F238E27FC236}">
                        <a16:creationId xmlns:a16="http://schemas.microsoft.com/office/drawing/2014/main" id="{ADF3063D-3453-4E1B-9B64-D5718E6C3130}"/>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grpSp>
              <p:nvGrpSpPr>
                <p:cNvPr id="99" name="Group 98">
                  <a:extLst>
                    <a:ext uri="{FF2B5EF4-FFF2-40B4-BE49-F238E27FC236}">
                      <a16:creationId xmlns:a16="http://schemas.microsoft.com/office/drawing/2014/main" id="{A8F6045A-1E59-4EA1-AF22-458B67FEBA63}"/>
                    </a:ext>
                  </a:extLst>
                </p:cNvPr>
                <p:cNvGrpSpPr/>
                <p:nvPr/>
              </p:nvGrpSpPr>
              <p:grpSpPr>
                <a:xfrm>
                  <a:off x="6808485" y="1540993"/>
                  <a:ext cx="1259068" cy="1371530"/>
                  <a:chOff x="7503683" y="1417638"/>
                  <a:chExt cx="2020612" cy="1371530"/>
                </a:xfrm>
              </p:grpSpPr>
              <p:sp>
                <p:nvSpPr>
                  <p:cNvPr id="165" name="Rounded Rectangle 30">
                    <a:extLst>
                      <a:ext uri="{FF2B5EF4-FFF2-40B4-BE49-F238E27FC236}">
                        <a16:creationId xmlns:a16="http://schemas.microsoft.com/office/drawing/2014/main" id="{E4D23A45-DE13-4716-BB45-C7348B6E95E0}"/>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896386">
                      <a:defRPr/>
                    </a:pPr>
                    <a:endParaRPr lang="en-US" sz="1176" kern="0">
                      <a:solidFill>
                        <a:sysClr val="windowText" lastClr="000000"/>
                      </a:solidFill>
                      <a:latin typeface="Segoe UI"/>
                    </a:endParaRPr>
                  </a:p>
                </p:txBody>
              </p:sp>
              <p:sp>
                <p:nvSpPr>
                  <p:cNvPr id="166" name="Rectangle 165">
                    <a:extLst>
                      <a:ext uri="{FF2B5EF4-FFF2-40B4-BE49-F238E27FC236}">
                        <a16:creationId xmlns:a16="http://schemas.microsoft.com/office/drawing/2014/main" id="{780E4449-40E5-4C82-B9AA-4A01611A11AC}"/>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67" name="Rectangle 166">
                    <a:extLst>
                      <a:ext uri="{FF2B5EF4-FFF2-40B4-BE49-F238E27FC236}">
                        <a16:creationId xmlns:a16="http://schemas.microsoft.com/office/drawing/2014/main" id="{BB7CC059-94B0-4F84-8627-A06DF24898E7}"/>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68" name="Rectangle 167">
                    <a:extLst>
                      <a:ext uri="{FF2B5EF4-FFF2-40B4-BE49-F238E27FC236}">
                        <a16:creationId xmlns:a16="http://schemas.microsoft.com/office/drawing/2014/main" id="{8031EEC8-08BC-401D-A06A-D9C8B946E7CB}"/>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69" name="Rectangle 168">
                    <a:extLst>
                      <a:ext uri="{FF2B5EF4-FFF2-40B4-BE49-F238E27FC236}">
                        <a16:creationId xmlns:a16="http://schemas.microsoft.com/office/drawing/2014/main" id="{56F1C26C-9832-4032-9F27-CD7C6F1082F1}"/>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grpSp>
              <p:nvGrpSpPr>
                <p:cNvPr id="100" name="Group 99">
                  <a:extLst>
                    <a:ext uri="{FF2B5EF4-FFF2-40B4-BE49-F238E27FC236}">
                      <a16:creationId xmlns:a16="http://schemas.microsoft.com/office/drawing/2014/main" id="{478B5B5E-9CB0-4826-A8BE-58AA81B255BE}"/>
                    </a:ext>
                  </a:extLst>
                </p:cNvPr>
                <p:cNvGrpSpPr/>
                <p:nvPr/>
              </p:nvGrpSpPr>
              <p:grpSpPr>
                <a:xfrm>
                  <a:off x="8158272" y="1540993"/>
                  <a:ext cx="1259068" cy="1371530"/>
                  <a:chOff x="7503683" y="1417638"/>
                  <a:chExt cx="2020612" cy="1371530"/>
                </a:xfrm>
              </p:grpSpPr>
              <p:sp>
                <p:nvSpPr>
                  <p:cNvPr id="160" name="Rounded Rectangle 30">
                    <a:extLst>
                      <a:ext uri="{FF2B5EF4-FFF2-40B4-BE49-F238E27FC236}">
                        <a16:creationId xmlns:a16="http://schemas.microsoft.com/office/drawing/2014/main" id="{D56618F2-3930-4E40-B47B-42925AC2A3E8}"/>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896386">
                      <a:defRPr/>
                    </a:pPr>
                    <a:endParaRPr lang="en-US" sz="1176" kern="0">
                      <a:solidFill>
                        <a:sysClr val="windowText" lastClr="000000"/>
                      </a:solidFill>
                      <a:latin typeface="Segoe UI"/>
                    </a:endParaRPr>
                  </a:p>
                </p:txBody>
              </p:sp>
              <p:sp>
                <p:nvSpPr>
                  <p:cNvPr id="161" name="Rectangle 160">
                    <a:extLst>
                      <a:ext uri="{FF2B5EF4-FFF2-40B4-BE49-F238E27FC236}">
                        <a16:creationId xmlns:a16="http://schemas.microsoft.com/office/drawing/2014/main" id="{B72268AF-4D28-477F-95A3-B34E88487E01}"/>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62" name="Rectangle 161">
                    <a:extLst>
                      <a:ext uri="{FF2B5EF4-FFF2-40B4-BE49-F238E27FC236}">
                        <a16:creationId xmlns:a16="http://schemas.microsoft.com/office/drawing/2014/main" id="{BB1D37AD-A0D8-4A0A-A1BF-40BD519DF5FE}"/>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63" name="Rectangle 162">
                    <a:extLst>
                      <a:ext uri="{FF2B5EF4-FFF2-40B4-BE49-F238E27FC236}">
                        <a16:creationId xmlns:a16="http://schemas.microsoft.com/office/drawing/2014/main" id="{E8079F91-E8AD-4887-B363-9B88686C6E73}"/>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64" name="Rectangle 163">
                    <a:extLst>
                      <a:ext uri="{FF2B5EF4-FFF2-40B4-BE49-F238E27FC236}">
                        <a16:creationId xmlns:a16="http://schemas.microsoft.com/office/drawing/2014/main" id="{CB5BC40D-BA37-4F51-9E86-9AE3C4C5DF91}"/>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grpSp>
              <p:nvGrpSpPr>
                <p:cNvPr id="103" name="Group 102">
                  <a:extLst>
                    <a:ext uri="{FF2B5EF4-FFF2-40B4-BE49-F238E27FC236}">
                      <a16:creationId xmlns:a16="http://schemas.microsoft.com/office/drawing/2014/main" id="{B6CF0870-CC97-422E-ACEE-714D04197B18}"/>
                    </a:ext>
                  </a:extLst>
                </p:cNvPr>
                <p:cNvGrpSpPr/>
                <p:nvPr/>
              </p:nvGrpSpPr>
              <p:grpSpPr>
                <a:xfrm>
                  <a:off x="9508059" y="1540993"/>
                  <a:ext cx="1259068" cy="1371530"/>
                  <a:chOff x="7503683" y="1417638"/>
                  <a:chExt cx="2020612" cy="1371530"/>
                </a:xfrm>
              </p:grpSpPr>
              <p:sp>
                <p:nvSpPr>
                  <p:cNvPr id="104" name="Rounded Rectangle 30">
                    <a:extLst>
                      <a:ext uri="{FF2B5EF4-FFF2-40B4-BE49-F238E27FC236}">
                        <a16:creationId xmlns:a16="http://schemas.microsoft.com/office/drawing/2014/main" id="{769F8E12-5CD4-4459-9D26-82EDC080B59A}"/>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896386">
                      <a:defRPr/>
                    </a:pPr>
                    <a:endParaRPr lang="en-US" sz="1176" kern="0">
                      <a:solidFill>
                        <a:sysClr val="windowText" lastClr="000000"/>
                      </a:solidFill>
                      <a:latin typeface="Segoe UI"/>
                    </a:endParaRPr>
                  </a:p>
                </p:txBody>
              </p:sp>
              <p:sp>
                <p:nvSpPr>
                  <p:cNvPr id="106" name="Rectangle 105">
                    <a:extLst>
                      <a:ext uri="{FF2B5EF4-FFF2-40B4-BE49-F238E27FC236}">
                        <a16:creationId xmlns:a16="http://schemas.microsoft.com/office/drawing/2014/main" id="{4CD642D3-2FF1-4838-BDA5-6095D9371E4D}"/>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57" name="Rectangle 156">
                    <a:extLst>
                      <a:ext uri="{FF2B5EF4-FFF2-40B4-BE49-F238E27FC236}">
                        <a16:creationId xmlns:a16="http://schemas.microsoft.com/office/drawing/2014/main" id="{D9217B09-DCF3-4AE9-A573-A6A5351D406C}"/>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58" name="Rectangle 157">
                    <a:extLst>
                      <a:ext uri="{FF2B5EF4-FFF2-40B4-BE49-F238E27FC236}">
                        <a16:creationId xmlns:a16="http://schemas.microsoft.com/office/drawing/2014/main" id="{85A2615E-64A5-4E87-898B-A1300FE612F8}"/>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159" name="Rectangle 158">
                    <a:extLst>
                      <a:ext uri="{FF2B5EF4-FFF2-40B4-BE49-F238E27FC236}">
                        <a16:creationId xmlns:a16="http://schemas.microsoft.com/office/drawing/2014/main" id="{448D9DEF-32D3-480B-81A5-CB5A0EFF2437}"/>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grpSp>
          <p:grpSp>
            <p:nvGrpSpPr>
              <p:cNvPr id="72" name="Group 71">
                <a:extLst>
                  <a:ext uri="{FF2B5EF4-FFF2-40B4-BE49-F238E27FC236}">
                    <a16:creationId xmlns:a16="http://schemas.microsoft.com/office/drawing/2014/main" id="{5804CC73-5FEA-41E8-9E76-0A3DDA3D8E06}"/>
                  </a:ext>
                </a:extLst>
              </p:cNvPr>
              <p:cNvGrpSpPr/>
              <p:nvPr/>
            </p:nvGrpSpPr>
            <p:grpSpPr>
              <a:xfrm>
                <a:off x="5458698" y="3035878"/>
                <a:ext cx="5308429" cy="1371530"/>
                <a:chOff x="5458698" y="1540993"/>
                <a:chExt cx="5308429" cy="1371530"/>
              </a:xfrm>
            </p:grpSpPr>
            <p:grpSp>
              <p:nvGrpSpPr>
                <p:cNvPr id="73" name="Group 72">
                  <a:extLst>
                    <a:ext uri="{FF2B5EF4-FFF2-40B4-BE49-F238E27FC236}">
                      <a16:creationId xmlns:a16="http://schemas.microsoft.com/office/drawing/2014/main" id="{F5DF559C-CA4F-4CDA-A37D-9960D102E6D8}"/>
                    </a:ext>
                  </a:extLst>
                </p:cNvPr>
                <p:cNvGrpSpPr/>
                <p:nvPr/>
              </p:nvGrpSpPr>
              <p:grpSpPr>
                <a:xfrm>
                  <a:off x="5458698" y="1540993"/>
                  <a:ext cx="1259068" cy="1371530"/>
                  <a:chOff x="7503683" y="1417638"/>
                  <a:chExt cx="2020612" cy="1371530"/>
                </a:xfrm>
              </p:grpSpPr>
              <p:sp>
                <p:nvSpPr>
                  <p:cNvPr id="93" name="Rounded Rectangle 30">
                    <a:extLst>
                      <a:ext uri="{FF2B5EF4-FFF2-40B4-BE49-F238E27FC236}">
                        <a16:creationId xmlns:a16="http://schemas.microsoft.com/office/drawing/2014/main" id="{2D3340E5-3E21-4892-B396-B88E35446CE9}"/>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896386">
                      <a:defRPr/>
                    </a:pPr>
                    <a:endParaRPr lang="en-US" sz="1176" kern="0">
                      <a:solidFill>
                        <a:sysClr val="windowText" lastClr="000000"/>
                      </a:solidFill>
                      <a:latin typeface="Segoe UI"/>
                    </a:endParaRPr>
                  </a:p>
                </p:txBody>
              </p:sp>
              <p:sp>
                <p:nvSpPr>
                  <p:cNvPr id="94" name="Rectangle 93">
                    <a:extLst>
                      <a:ext uri="{FF2B5EF4-FFF2-40B4-BE49-F238E27FC236}">
                        <a16:creationId xmlns:a16="http://schemas.microsoft.com/office/drawing/2014/main" id="{5EB2C024-3ECD-49A0-AE5F-EFDA8A5CBF02}"/>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95" name="Rectangle 94">
                    <a:extLst>
                      <a:ext uri="{FF2B5EF4-FFF2-40B4-BE49-F238E27FC236}">
                        <a16:creationId xmlns:a16="http://schemas.microsoft.com/office/drawing/2014/main" id="{5D02F4DD-582B-4299-9C86-3D946EFD5210}"/>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96" name="Rectangle 95">
                    <a:extLst>
                      <a:ext uri="{FF2B5EF4-FFF2-40B4-BE49-F238E27FC236}">
                        <a16:creationId xmlns:a16="http://schemas.microsoft.com/office/drawing/2014/main" id="{84DCF267-7696-438A-8185-3C870072E710}"/>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97" name="Rectangle 96">
                    <a:extLst>
                      <a:ext uri="{FF2B5EF4-FFF2-40B4-BE49-F238E27FC236}">
                        <a16:creationId xmlns:a16="http://schemas.microsoft.com/office/drawing/2014/main" id="{69386756-5FB2-4EAA-9960-1B7E728AE04F}"/>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grpSp>
              <p:nvGrpSpPr>
                <p:cNvPr id="74" name="Group 73">
                  <a:extLst>
                    <a:ext uri="{FF2B5EF4-FFF2-40B4-BE49-F238E27FC236}">
                      <a16:creationId xmlns:a16="http://schemas.microsoft.com/office/drawing/2014/main" id="{6598A4B9-380B-4105-AA9B-AE4DE43664BE}"/>
                    </a:ext>
                  </a:extLst>
                </p:cNvPr>
                <p:cNvGrpSpPr/>
                <p:nvPr/>
              </p:nvGrpSpPr>
              <p:grpSpPr>
                <a:xfrm>
                  <a:off x="6808485" y="1540993"/>
                  <a:ext cx="1259068" cy="1371530"/>
                  <a:chOff x="7503683" y="1417638"/>
                  <a:chExt cx="2020612" cy="1371530"/>
                </a:xfrm>
              </p:grpSpPr>
              <p:sp>
                <p:nvSpPr>
                  <p:cNvPr id="88" name="Rounded Rectangle 30">
                    <a:extLst>
                      <a:ext uri="{FF2B5EF4-FFF2-40B4-BE49-F238E27FC236}">
                        <a16:creationId xmlns:a16="http://schemas.microsoft.com/office/drawing/2014/main" id="{6D44D289-D8D4-4128-8B66-5AA2B4E1FC9D}"/>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896386">
                      <a:defRPr/>
                    </a:pPr>
                    <a:endParaRPr lang="en-US" sz="1176" kern="0">
                      <a:solidFill>
                        <a:sysClr val="windowText" lastClr="000000"/>
                      </a:solidFill>
                      <a:latin typeface="Segoe UI"/>
                    </a:endParaRPr>
                  </a:p>
                </p:txBody>
              </p:sp>
              <p:sp>
                <p:nvSpPr>
                  <p:cNvPr id="89" name="Rectangle 88">
                    <a:extLst>
                      <a:ext uri="{FF2B5EF4-FFF2-40B4-BE49-F238E27FC236}">
                        <a16:creationId xmlns:a16="http://schemas.microsoft.com/office/drawing/2014/main" id="{A269418F-F82F-4CE1-9394-9B6ABAC28B0D}"/>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90" name="Rectangle 89">
                    <a:extLst>
                      <a:ext uri="{FF2B5EF4-FFF2-40B4-BE49-F238E27FC236}">
                        <a16:creationId xmlns:a16="http://schemas.microsoft.com/office/drawing/2014/main" id="{91B4893E-05F5-4B41-8048-61A4CAC34172}"/>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91" name="Rectangle 90">
                    <a:extLst>
                      <a:ext uri="{FF2B5EF4-FFF2-40B4-BE49-F238E27FC236}">
                        <a16:creationId xmlns:a16="http://schemas.microsoft.com/office/drawing/2014/main" id="{BC219A6B-FCA7-4D7C-8F11-64347660A8BD}"/>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92" name="Rectangle 91">
                    <a:extLst>
                      <a:ext uri="{FF2B5EF4-FFF2-40B4-BE49-F238E27FC236}">
                        <a16:creationId xmlns:a16="http://schemas.microsoft.com/office/drawing/2014/main" id="{96E526FC-EBC9-4CE7-A3DA-D18B315797DB}"/>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grpSp>
              <p:nvGrpSpPr>
                <p:cNvPr id="75" name="Group 74">
                  <a:extLst>
                    <a:ext uri="{FF2B5EF4-FFF2-40B4-BE49-F238E27FC236}">
                      <a16:creationId xmlns:a16="http://schemas.microsoft.com/office/drawing/2014/main" id="{CB1CA366-886B-4934-BBD8-8EBAD4CDFF9B}"/>
                    </a:ext>
                  </a:extLst>
                </p:cNvPr>
                <p:cNvGrpSpPr/>
                <p:nvPr/>
              </p:nvGrpSpPr>
              <p:grpSpPr>
                <a:xfrm>
                  <a:off x="8158272" y="1540993"/>
                  <a:ext cx="1259068" cy="1371530"/>
                  <a:chOff x="7503683" y="1417638"/>
                  <a:chExt cx="2020612" cy="1371530"/>
                </a:xfrm>
              </p:grpSpPr>
              <p:sp>
                <p:nvSpPr>
                  <p:cNvPr id="82" name="Rounded Rectangle 30">
                    <a:extLst>
                      <a:ext uri="{FF2B5EF4-FFF2-40B4-BE49-F238E27FC236}">
                        <a16:creationId xmlns:a16="http://schemas.microsoft.com/office/drawing/2014/main" id="{EBF15FEC-3E91-4D96-BC4E-BD3B6A2F7F36}"/>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896386">
                      <a:defRPr/>
                    </a:pPr>
                    <a:endParaRPr lang="en-US" sz="1176" kern="0">
                      <a:solidFill>
                        <a:sysClr val="windowText" lastClr="000000"/>
                      </a:solidFill>
                      <a:latin typeface="Segoe UI"/>
                    </a:endParaRPr>
                  </a:p>
                </p:txBody>
              </p:sp>
              <p:sp>
                <p:nvSpPr>
                  <p:cNvPr id="83" name="Rectangle 82">
                    <a:extLst>
                      <a:ext uri="{FF2B5EF4-FFF2-40B4-BE49-F238E27FC236}">
                        <a16:creationId xmlns:a16="http://schemas.microsoft.com/office/drawing/2014/main" id="{936986CC-1DA5-4E41-86C5-19B326F45D76}"/>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84" name="Rectangle 83">
                    <a:extLst>
                      <a:ext uri="{FF2B5EF4-FFF2-40B4-BE49-F238E27FC236}">
                        <a16:creationId xmlns:a16="http://schemas.microsoft.com/office/drawing/2014/main" id="{4F4B82BA-2CC5-4215-A83D-E0A8C658D2C8}"/>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85" name="Rectangle 84">
                    <a:extLst>
                      <a:ext uri="{FF2B5EF4-FFF2-40B4-BE49-F238E27FC236}">
                        <a16:creationId xmlns:a16="http://schemas.microsoft.com/office/drawing/2014/main" id="{FCB9759D-0777-4342-9A00-2313E07A94AA}"/>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86" name="Rectangle 85">
                    <a:extLst>
                      <a:ext uri="{FF2B5EF4-FFF2-40B4-BE49-F238E27FC236}">
                        <a16:creationId xmlns:a16="http://schemas.microsoft.com/office/drawing/2014/main" id="{9BE321DE-55E7-431F-8D24-BD02EAD4E3A9}"/>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grpSp>
              <p:nvGrpSpPr>
                <p:cNvPr id="76" name="Group 75">
                  <a:extLst>
                    <a:ext uri="{FF2B5EF4-FFF2-40B4-BE49-F238E27FC236}">
                      <a16:creationId xmlns:a16="http://schemas.microsoft.com/office/drawing/2014/main" id="{365155B6-F193-40FA-A014-D106BB6AA3D8}"/>
                    </a:ext>
                  </a:extLst>
                </p:cNvPr>
                <p:cNvGrpSpPr/>
                <p:nvPr/>
              </p:nvGrpSpPr>
              <p:grpSpPr>
                <a:xfrm>
                  <a:off x="9508059" y="1540993"/>
                  <a:ext cx="1259068" cy="1371530"/>
                  <a:chOff x="7503683" y="1417638"/>
                  <a:chExt cx="2020612" cy="1371530"/>
                </a:xfrm>
              </p:grpSpPr>
              <p:sp>
                <p:nvSpPr>
                  <p:cNvPr id="77" name="Rounded Rectangle 30">
                    <a:extLst>
                      <a:ext uri="{FF2B5EF4-FFF2-40B4-BE49-F238E27FC236}">
                        <a16:creationId xmlns:a16="http://schemas.microsoft.com/office/drawing/2014/main" id="{E6A714A5-5798-427D-941D-C34D1E62CDD3}"/>
                      </a:ext>
                    </a:extLst>
                  </p:cNvPr>
                  <p:cNvSpPr/>
                  <p:nvPr/>
                </p:nvSpPr>
                <p:spPr>
                  <a:xfrm>
                    <a:off x="7503683" y="1417638"/>
                    <a:ext cx="2020612" cy="1371530"/>
                  </a:xfrm>
                  <a:prstGeom prst="roundRect">
                    <a:avLst/>
                  </a:prstGeom>
                  <a:solidFill>
                    <a:srgbClr val="296A8E"/>
                  </a:solidFill>
                  <a:ln w="25400" cap="flat" cmpd="sng" algn="ctr">
                    <a:solidFill>
                      <a:srgbClr val="424CA0">
                        <a:shade val="50000"/>
                      </a:srgbClr>
                    </a:solidFill>
                    <a:prstDash val="solid"/>
                  </a:ln>
                  <a:effectLst/>
                </p:spPr>
                <p:txBody>
                  <a:bodyPr rtlCol="0" anchor="ctr"/>
                  <a:lstStyle/>
                  <a:p>
                    <a:pPr algn="ctr" defTabSz="896386">
                      <a:defRPr/>
                    </a:pPr>
                    <a:endParaRPr lang="en-US" sz="1176" kern="0">
                      <a:solidFill>
                        <a:sysClr val="windowText" lastClr="000000"/>
                      </a:solidFill>
                      <a:latin typeface="Segoe UI"/>
                    </a:endParaRPr>
                  </a:p>
                </p:txBody>
              </p:sp>
              <p:sp>
                <p:nvSpPr>
                  <p:cNvPr id="78" name="Rectangle 77">
                    <a:extLst>
                      <a:ext uri="{FF2B5EF4-FFF2-40B4-BE49-F238E27FC236}">
                        <a16:creationId xmlns:a16="http://schemas.microsoft.com/office/drawing/2014/main" id="{2263394E-F576-4FD7-8745-7729530F2CFF}"/>
                      </a:ext>
                    </a:extLst>
                  </p:cNvPr>
                  <p:cNvSpPr/>
                  <p:nvPr/>
                </p:nvSpPr>
                <p:spPr>
                  <a:xfrm>
                    <a:off x="7673324" y="1559023"/>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79" name="Rectangle 78">
                    <a:extLst>
                      <a:ext uri="{FF2B5EF4-FFF2-40B4-BE49-F238E27FC236}">
                        <a16:creationId xmlns:a16="http://schemas.microsoft.com/office/drawing/2014/main" id="{3B46CD4C-1537-4964-BEB2-4D93EEADB808}"/>
                      </a:ext>
                    </a:extLst>
                  </p:cNvPr>
                  <p:cNvSpPr/>
                  <p:nvPr/>
                </p:nvSpPr>
                <p:spPr>
                  <a:xfrm>
                    <a:off x="7673324" y="1832257"/>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80" name="Rectangle 79">
                    <a:extLst>
                      <a:ext uri="{FF2B5EF4-FFF2-40B4-BE49-F238E27FC236}">
                        <a16:creationId xmlns:a16="http://schemas.microsoft.com/office/drawing/2014/main" id="{E361DD73-27F1-49DC-9DE2-A2050D404616}"/>
                      </a:ext>
                    </a:extLst>
                  </p:cNvPr>
                  <p:cNvSpPr/>
                  <p:nvPr/>
                </p:nvSpPr>
                <p:spPr>
                  <a:xfrm>
                    <a:off x="7673323" y="239702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81" name="Rectangle 80">
                    <a:extLst>
                      <a:ext uri="{FF2B5EF4-FFF2-40B4-BE49-F238E27FC236}">
                        <a16:creationId xmlns:a16="http://schemas.microsoft.com/office/drawing/2014/main" id="{75A34C15-EB3E-4D67-B895-500BC8B99E20}"/>
                      </a:ext>
                    </a:extLst>
                  </p:cNvPr>
                  <p:cNvSpPr/>
                  <p:nvPr/>
                </p:nvSpPr>
                <p:spPr>
                  <a:xfrm>
                    <a:off x="7673323" y="2117552"/>
                    <a:ext cx="1681329" cy="253916"/>
                  </a:xfrm>
                  <a:prstGeom prst="rect">
                    <a:avLst/>
                  </a:prstGeom>
                  <a:solidFill>
                    <a:srgbClr val="2098D5">
                      <a:lumMod val="20000"/>
                      <a:lumOff val="80000"/>
                    </a:srgbClr>
                  </a:solidFill>
                  <a:ln w="9525" cap="flat" cmpd="sng" algn="ctr">
                    <a:solidFill>
                      <a:srgbClr val="424CA0">
                        <a:shade val="95000"/>
                        <a:satMod val="105000"/>
                      </a:srgbClr>
                    </a:solidFill>
                    <a:prstDash val="solid"/>
                  </a:ln>
                  <a:effectLst>
                    <a:outerShdw blurRad="40000" dist="20000" dir="5400000" rotWithShape="0">
                      <a:srgbClr val="000000">
                        <a:alpha val="38000"/>
                      </a:srgbClr>
                    </a:outerShdw>
                  </a:effectLst>
                </p:spPr>
                <p:txBody>
                  <a:bodyPr wrap="square" lIns="67232" tIns="33616" rIns="67232" bIns="33616">
                    <a:spAutoFit/>
                  </a:bodyPr>
                  <a:lstStyle/>
                  <a:p>
                    <a:pPr algn="ctr" defTabSz="672290">
                      <a:defRPr/>
                    </a:pPr>
                    <a:r>
                      <a:rPr lang="en-US" sz="1176"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Free Space</a:t>
                    </a:r>
                    <a:endParaRPr lang="en-US" sz="1176"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grpSp>
          </p:grpSp>
        </p:grpSp>
        <p:sp>
          <p:nvSpPr>
            <p:cNvPr id="70" name="TextBox 69">
              <a:extLst>
                <a:ext uri="{FF2B5EF4-FFF2-40B4-BE49-F238E27FC236}">
                  <a16:creationId xmlns:a16="http://schemas.microsoft.com/office/drawing/2014/main" id="{762E0CB8-0553-4089-9A22-B3669BD4198E}"/>
                </a:ext>
              </a:extLst>
            </p:cNvPr>
            <p:cNvSpPr txBox="1"/>
            <p:nvPr/>
          </p:nvSpPr>
          <p:spPr>
            <a:xfrm>
              <a:off x="6360057" y="4565789"/>
              <a:ext cx="4855496" cy="369332"/>
            </a:xfrm>
            <a:prstGeom prst="rect">
              <a:avLst/>
            </a:prstGeom>
            <a:noFill/>
          </p:spPr>
          <p:txBody>
            <a:bodyPr wrap="square" rtlCol="0">
              <a:spAutoFit/>
            </a:bodyPr>
            <a:lstStyle/>
            <a:p>
              <a:pPr defTabSz="896386">
                <a:defRPr/>
              </a:pPr>
              <a:r>
                <a:rPr lang="en-US" sz="1765" kern="0" dirty="0">
                  <a:solidFill>
                    <a:prstClr val="black"/>
                  </a:solidFill>
                </a:rPr>
                <a:t>Extent: Eight contiguous 8kb pages</a:t>
              </a:r>
            </a:p>
          </p:txBody>
        </p:sp>
      </p:grpSp>
      <p:sp>
        <p:nvSpPr>
          <p:cNvPr id="175" name="Right Brace 174">
            <a:extLst>
              <a:ext uri="{FF2B5EF4-FFF2-40B4-BE49-F238E27FC236}">
                <a16:creationId xmlns:a16="http://schemas.microsoft.com/office/drawing/2014/main" id="{4BF3C2CB-2759-45EB-95DB-26490BE38867}"/>
              </a:ext>
            </a:extLst>
          </p:cNvPr>
          <p:cNvSpPr/>
          <p:nvPr/>
        </p:nvSpPr>
        <p:spPr>
          <a:xfrm>
            <a:off x="4077746" y="1674489"/>
            <a:ext cx="827216" cy="4038123"/>
          </a:xfrm>
          <a:prstGeom prst="rightBrace">
            <a:avLst/>
          </a:prstGeom>
          <a:noFill/>
          <a:ln w="76200" cap="flat" cmpd="sng" algn="ctr">
            <a:solidFill>
              <a:srgbClr val="2098D5">
                <a:lumMod val="50000"/>
              </a:srgbClr>
            </a:solidFill>
            <a:prstDash val="solid"/>
          </a:ln>
          <a:effectLst/>
        </p:spPr>
        <p:txBody>
          <a:bodyPr rtlCol="0" anchor="ctr"/>
          <a:lstStyle/>
          <a:p>
            <a:pPr algn="ctr" defTabSz="896386">
              <a:defRPr/>
            </a:pPr>
            <a:endParaRPr lang="en-US" sz="1765" kern="0">
              <a:solidFill>
                <a:prstClr val="black"/>
              </a:solidFill>
              <a:latin typeface="Segoe UI"/>
            </a:endParaRPr>
          </a:p>
        </p:txBody>
      </p:sp>
      <p:grpSp>
        <p:nvGrpSpPr>
          <p:cNvPr id="176" name="Group 175">
            <a:extLst>
              <a:ext uri="{FF2B5EF4-FFF2-40B4-BE49-F238E27FC236}">
                <a16:creationId xmlns:a16="http://schemas.microsoft.com/office/drawing/2014/main" id="{CC39C7A8-38BB-4036-91EF-971ABA191095}"/>
              </a:ext>
            </a:extLst>
          </p:cNvPr>
          <p:cNvGrpSpPr/>
          <p:nvPr/>
        </p:nvGrpSpPr>
        <p:grpSpPr>
          <a:xfrm>
            <a:off x="1407187" y="2204262"/>
            <a:ext cx="2378347" cy="2497147"/>
            <a:chOff x="4963829" y="4298078"/>
            <a:chExt cx="1393773" cy="1547244"/>
          </a:xfrm>
        </p:grpSpPr>
        <p:sp>
          <p:nvSpPr>
            <p:cNvPr id="177" name="Cylinder 176">
              <a:extLst>
                <a:ext uri="{FF2B5EF4-FFF2-40B4-BE49-F238E27FC236}">
                  <a16:creationId xmlns:a16="http://schemas.microsoft.com/office/drawing/2014/main" id="{34AE8436-AAE3-4300-AD76-AEDBD0ECEC04}"/>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896386">
                <a:defRPr/>
              </a:pPr>
              <a:endParaRPr lang="en-US" sz="1765" kern="0">
                <a:solidFill>
                  <a:prstClr val="white"/>
                </a:solidFill>
                <a:latin typeface="Segoe UI"/>
              </a:endParaRPr>
            </a:p>
          </p:txBody>
        </p:sp>
        <p:sp>
          <p:nvSpPr>
            <p:cNvPr id="178" name="Cylinder 177">
              <a:extLst>
                <a:ext uri="{FF2B5EF4-FFF2-40B4-BE49-F238E27FC236}">
                  <a16:creationId xmlns:a16="http://schemas.microsoft.com/office/drawing/2014/main" id="{771C4C54-7EF4-482D-925A-B8E483385412}"/>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896386">
                <a:defRPr/>
              </a:pPr>
              <a:endParaRPr lang="en-US" sz="1765" kern="0">
                <a:solidFill>
                  <a:prstClr val="white"/>
                </a:solidFill>
                <a:latin typeface="Segoe UI"/>
              </a:endParaRPr>
            </a:p>
          </p:txBody>
        </p:sp>
        <p:sp>
          <p:nvSpPr>
            <p:cNvPr id="179" name="Cylinder 178">
              <a:extLst>
                <a:ext uri="{FF2B5EF4-FFF2-40B4-BE49-F238E27FC236}">
                  <a16:creationId xmlns:a16="http://schemas.microsoft.com/office/drawing/2014/main" id="{91F2CADC-190A-4DE6-9CBC-9B65E3B80D88}"/>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algn="ctr" defTabSz="896386">
                <a:defRPr/>
              </a:pPr>
              <a:endParaRPr lang="en-US" sz="1765" kern="0">
                <a:solidFill>
                  <a:prstClr val="white"/>
                </a:solidFill>
                <a:latin typeface="Segoe UI"/>
              </a:endParaRPr>
            </a:p>
          </p:txBody>
        </p:sp>
      </p:grpSp>
      <p:sp>
        <p:nvSpPr>
          <p:cNvPr id="180" name="TextBox 179">
            <a:extLst>
              <a:ext uri="{FF2B5EF4-FFF2-40B4-BE49-F238E27FC236}">
                <a16:creationId xmlns:a16="http://schemas.microsoft.com/office/drawing/2014/main" id="{9C081686-9A79-4D53-B7F5-88EC93ECE78E}"/>
              </a:ext>
            </a:extLst>
          </p:cNvPr>
          <p:cNvSpPr txBox="1"/>
          <p:nvPr/>
        </p:nvSpPr>
        <p:spPr>
          <a:xfrm>
            <a:off x="6047312" y="5679046"/>
            <a:ext cx="6074371" cy="724143"/>
          </a:xfrm>
          <a:prstGeom prst="rect">
            <a:avLst/>
          </a:prstGeom>
          <a:noFill/>
        </p:spPr>
        <p:txBody>
          <a:bodyPr wrap="square" rtlCol="0">
            <a:spAutoFit/>
          </a:bodyPr>
          <a:lstStyle/>
          <a:p>
            <a:pPr lvl="0"/>
            <a:r>
              <a:rPr lang="en-US" sz="1765" b="1" dirty="0">
                <a:latin typeface="Segoe UI Light" pitchFamily="34" charset="0"/>
              </a:rPr>
              <a:t>Uniform extents: </a:t>
            </a:r>
            <a:r>
              <a:rPr lang="en-US" sz="1765" dirty="0">
                <a:latin typeface="Segoe UI Light" pitchFamily="34" charset="0"/>
              </a:rPr>
              <a:t>Pages used by a single object.</a:t>
            </a:r>
          </a:p>
          <a:p>
            <a:pPr lvl="0"/>
            <a:r>
              <a:rPr lang="en-US" sz="1765" b="1" dirty="0">
                <a:latin typeface="Segoe UI Light" pitchFamily="34" charset="0"/>
              </a:rPr>
              <a:t>Mixed extents: </a:t>
            </a:r>
            <a:r>
              <a:rPr lang="en-US" sz="1765" dirty="0">
                <a:latin typeface="Segoe UI Light" pitchFamily="34" charset="0"/>
              </a:rPr>
              <a:t>Pages used by different objects</a:t>
            </a:r>
            <a:r>
              <a:rPr lang="en-US" sz="2353" dirty="0">
                <a:latin typeface="Segoe UI Light" pitchFamily="34" charset="0"/>
              </a:rPr>
              <a:t>.</a:t>
            </a:r>
          </a:p>
        </p:txBody>
      </p:sp>
    </p:spTree>
    <p:extLst>
      <p:ext uri="{BB962C8B-B14F-4D97-AF65-F5344CB8AC3E}">
        <p14:creationId xmlns:p14="http://schemas.microsoft.com/office/powerpoint/2010/main" val="2712754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rot="5400000">
            <a:off x="6732291" y="1758680"/>
            <a:ext cx="2568951" cy="675992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8">
              <a:defRPr/>
            </a:pPr>
            <a:endParaRPr lang="en-US" sz="2100" kern="0" dirty="0">
              <a:solidFill>
                <a:prstClr val="white"/>
              </a:solidFill>
              <a:latin typeface="Calibri" panose="020F0502020204030204" pitchFamily="34" charset="0"/>
            </a:endParaRPr>
          </a:p>
        </p:txBody>
      </p:sp>
      <p:sp>
        <p:nvSpPr>
          <p:cNvPr id="58" name="TextBox 57"/>
          <p:cNvSpPr txBox="1"/>
          <p:nvPr/>
        </p:nvSpPr>
        <p:spPr>
          <a:xfrm>
            <a:off x="6738557" y="3811140"/>
            <a:ext cx="2339283" cy="468972"/>
          </a:xfrm>
          <a:prstGeom prst="rect">
            <a:avLst/>
          </a:prstGeom>
          <a:noFill/>
        </p:spPr>
        <p:txBody>
          <a:bodyPr wrap="square" rtlCol="0">
            <a:spAutoFit/>
          </a:bodyPr>
          <a:lstStyle/>
          <a:p>
            <a:pPr algn="ctr" defTabSz="914225">
              <a:defRPr/>
            </a:pPr>
            <a:r>
              <a:rPr lang="en-US" sz="2400" kern="0" dirty="0">
                <a:solidFill>
                  <a:srgbClr val="2A2954"/>
                </a:solidFill>
                <a:latin typeface="Segoe UI"/>
              </a:rPr>
              <a:t>Clustered Index</a:t>
            </a:r>
          </a:p>
        </p:txBody>
      </p:sp>
      <p:sp>
        <p:nvSpPr>
          <p:cNvPr id="8" name="Rounded Rectangle 7"/>
          <p:cNvSpPr/>
          <p:nvPr/>
        </p:nvSpPr>
        <p:spPr>
          <a:xfrm>
            <a:off x="4800955" y="4227574"/>
            <a:ext cx="2022823" cy="1965681"/>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49" name="Rectangle 48"/>
          <p:cNvSpPr/>
          <p:nvPr/>
        </p:nvSpPr>
        <p:spPr>
          <a:xfrm>
            <a:off x="4970783" y="4416233"/>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1</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51" name="Rectangle 50"/>
          <p:cNvSpPr/>
          <p:nvPr/>
        </p:nvSpPr>
        <p:spPr>
          <a:xfrm>
            <a:off x="4970782" y="5014234"/>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2</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54" name="Rectangle 53"/>
          <p:cNvSpPr/>
          <p:nvPr/>
        </p:nvSpPr>
        <p:spPr>
          <a:xfrm>
            <a:off x="4970781" y="5612235"/>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3</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7" name="Rounded Rectangle 26"/>
          <p:cNvSpPr/>
          <p:nvPr/>
        </p:nvSpPr>
        <p:spPr>
          <a:xfrm>
            <a:off x="6973410" y="4257173"/>
            <a:ext cx="2022823" cy="1965681"/>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28" name="Rectangle 27"/>
          <p:cNvSpPr/>
          <p:nvPr/>
        </p:nvSpPr>
        <p:spPr>
          <a:xfrm>
            <a:off x="7143238" y="4445833"/>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4</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29" name="Rectangle 28"/>
          <p:cNvSpPr/>
          <p:nvPr/>
        </p:nvSpPr>
        <p:spPr>
          <a:xfrm>
            <a:off x="7143237" y="5043834"/>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5</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0" name="Rectangle 29"/>
          <p:cNvSpPr/>
          <p:nvPr/>
        </p:nvSpPr>
        <p:spPr>
          <a:xfrm>
            <a:off x="7143236" y="5641835"/>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6</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1" name="Rounded Rectangle 30"/>
          <p:cNvSpPr/>
          <p:nvPr/>
        </p:nvSpPr>
        <p:spPr>
          <a:xfrm>
            <a:off x="9145865" y="4252488"/>
            <a:ext cx="2022823" cy="1965681"/>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32" name="Rectangle 31"/>
          <p:cNvSpPr/>
          <p:nvPr/>
        </p:nvSpPr>
        <p:spPr>
          <a:xfrm>
            <a:off x="9315694" y="4441148"/>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7</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3" name="Rectangle 32"/>
          <p:cNvSpPr/>
          <p:nvPr/>
        </p:nvSpPr>
        <p:spPr>
          <a:xfrm>
            <a:off x="9315692" y="5039149"/>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8</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34" name="Rectangle 33"/>
          <p:cNvSpPr/>
          <p:nvPr/>
        </p:nvSpPr>
        <p:spPr>
          <a:xfrm>
            <a:off x="9315691" y="5637149"/>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9</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9" name="TextBox 8"/>
          <p:cNvSpPr txBox="1"/>
          <p:nvPr/>
        </p:nvSpPr>
        <p:spPr>
          <a:xfrm>
            <a:off x="624956" y="3736262"/>
            <a:ext cx="3714223" cy="2308324"/>
          </a:xfrm>
          <a:prstGeom prst="rect">
            <a:avLst/>
          </a:prstGeom>
          <a:noFill/>
        </p:spPr>
        <p:txBody>
          <a:bodyPr wrap="square" rtlCol="0">
            <a:spAutoFit/>
          </a:bodyPr>
          <a:lstStyle/>
          <a:p>
            <a:pPr defTabSz="914225">
              <a:defRPr/>
            </a:pPr>
            <a:r>
              <a:rPr lang="en-US" sz="2400" kern="0" dirty="0">
                <a:solidFill>
                  <a:sysClr val="windowText" lastClr="000000"/>
                </a:solidFill>
                <a:latin typeface="Segoe UI"/>
              </a:rPr>
              <a:t>Clustered Index data is stored in sorted order by the Clustering key. In many cases, this is the same value as the Primary Key.</a:t>
            </a:r>
          </a:p>
        </p:txBody>
      </p:sp>
      <p:sp>
        <p:nvSpPr>
          <p:cNvPr id="40" name="Rounded Rectangle 39"/>
          <p:cNvSpPr/>
          <p:nvPr/>
        </p:nvSpPr>
        <p:spPr>
          <a:xfrm rot="5400000">
            <a:off x="6726576" y="-941153"/>
            <a:ext cx="2580380" cy="675992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8">
              <a:defRPr/>
            </a:pPr>
            <a:endParaRPr lang="en-US" sz="2100" kern="0" dirty="0">
              <a:solidFill>
                <a:prstClr val="white"/>
              </a:solidFill>
              <a:latin typeface="Calibri" panose="020F0502020204030204" pitchFamily="34" charset="0"/>
            </a:endParaRPr>
          </a:p>
        </p:txBody>
      </p:sp>
      <p:sp>
        <p:nvSpPr>
          <p:cNvPr id="41" name="TextBox 40"/>
          <p:cNvSpPr txBox="1"/>
          <p:nvPr/>
        </p:nvSpPr>
        <p:spPr>
          <a:xfrm>
            <a:off x="6807127" y="1116349"/>
            <a:ext cx="2339283" cy="468972"/>
          </a:xfrm>
          <a:prstGeom prst="rect">
            <a:avLst/>
          </a:prstGeom>
          <a:noFill/>
        </p:spPr>
        <p:txBody>
          <a:bodyPr wrap="square" rtlCol="0">
            <a:spAutoFit/>
          </a:bodyPr>
          <a:lstStyle/>
          <a:p>
            <a:pPr algn="ctr" defTabSz="914225">
              <a:defRPr/>
            </a:pPr>
            <a:r>
              <a:rPr lang="en-US" sz="2400" kern="0" dirty="0">
                <a:solidFill>
                  <a:srgbClr val="2A2954"/>
                </a:solidFill>
                <a:latin typeface="Segoe UI"/>
              </a:rPr>
              <a:t>Heap</a:t>
            </a:r>
          </a:p>
        </p:txBody>
      </p:sp>
      <p:sp>
        <p:nvSpPr>
          <p:cNvPr id="42" name="Rounded Rectangle 41"/>
          <p:cNvSpPr/>
          <p:nvPr/>
        </p:nvSpPr>
        <p:spPr>
          <a:xfrm>
            <a:off x="4800955" y="1522698"/>
            <a:ext cx="2022823" cy="1965681"/>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44" name="Rectangle 43"/>
          <p:cNvSpPr/>
          <p:nvPr/>
        </p:nvSpPr>
        <p:spPr>
          <a:xfrm>
            <a:off x="4970783" y="1711358"/>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8</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45" name="Rectangle 44"/>
          <p:cNvSpPr/>
          <p:nvPr/>
        </p:nvSpPr>
        <p:spPr>
          <a:xfrm>
            <a:off x="4970782" y="2309359"/>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6</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46" name="Rectangle 45"/>
          <p:cNvSpPr/>
          <p:nvPr/>
        </p:nvSpPr>
        <p:spPr>
          <a:xfrm>
            <a:off x="4970781" y="2907360"/>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1</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47" name="Rounded Rectangle 46"/>
          <p:cNvSpPr/>
          <p:nvPr/>
        </p:nvSpPr>
        <p:spPr>
          <a:xfrm>
            <a:off x="6973410" y="1552297"/>
            <a:ext cx="2022823" cy="1965681"/>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48" name="Rectangle 47"/>
          <p:cNvSpPr/>
          <p:nvPr/>
        </p:nvSpPr>
        <p:spPr>
          <a:xfrm>
            <a:off x="7143238" y="1740957"/>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2</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53" name="Rectangle 52"/>
          <p:cNvSpPr/>
          <p:nvPr/>
        </p:nvSpPr>
        <p:spPr>
          <a:xfrm>
            <a:off x="7143237" y="2338959"/>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5</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63" name="Rectangle 62"/>
          <p:cNvSpPr/>
          <p:nvPr/>
        </p:nvSpPr>
        <p:spPr>
          <a:xfrm>
            <a:off x="7143236" y="2936960"/>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3</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64" name="Rounded Rectangle 63"/>
          <p:cNvSpPr/>
          <p:nvPr/>
        </p:nvSpPr>
        <p:spPr>
          <a:xfrm>
            <a:off x="9145865" y="1547612"/>
            <a:ext cx="2022823" cy="1965681"/>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kern="0">
              <a:solidFill>
                <a:sysClr val="windowText" lastClr="000000"/>
              </a:solidFill>
              <a:latin typeface="Segoe UI"/>
            </a:endParaRPr>
          </a:p>
        </p:txBody>
      </p:sp>
      <p:sp>
        <p:nvSpPr>
          <p:cNvPr id="65" name="Rectangle 64"/>
          <p:cNvSpPr/>
          <p:nvPr/>
        </p:nvSpPr>
        <p:spPr>
          <a:xfrm>
            <a:off x="9315694" y="1736272"/>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7</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66" name="Rectangle 65"/>
          <p:cNvSpPr/>
          <p:nvPr/>
        </p:nvSpPr>
        <p:spPr>
          <a:xfrm>
            <a:off x="9315692" y="2334273"/>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4</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67" name="Rectangle 66"/>
          <p:cNvSpPr/>
          <p:nvPr/>
        </p:nvSpPr>
        <p:spPr>
          <a:xfrm>
            <a:off x="9315691" y="2932275"/>
            <a:ext cx="1683169" cy="398836"/>
          </a:xfrm>
          <a:prstGeom prst="rect">
            <a:avLst/>
          </a:prstGeom>
          <a:solidFill>
            <a:schemeClr val="accent4">
              <a:lumMod val="20000"/>
              <a:lumOff val="80000"/>
            </a:schemeClr>
          </a:solidFill>
        </p:spPr>
        <p:style>
          <a:lnRef idx="1">
            <a:schemeClr val="accent1"/>
          </a:lnRef>
          <a:fillRef idx="2">
            <a:schemeClr val="accent1"/>
          </a:fillRef>
          <a:effectRef idx="1">
            <a:schemeClr val="accent1"/>
          </a:effectRef>
          <a:fontRef idx="minor">
            <a:schemeClr val="dk1"/>
          </a:fontRef>
        </p:style>
        <p:txBody>
          <a:bodyPr wrap="square" lIns="68570" tIns="34286" rIns="68570" bIns="34286">
            <a:spAutoFit/>
          </a:bodyPr>
          <a:lstStyle/>
          <a:p>
            <a:pPr algn="ctr" defTabSz="685668">
              <a:defRPr/>
            </a:pPr>
            <a:r>
              <a:rPr lang="en-US" sz="2100" b="1" kern="0" dirty="0">
                <a:ln w="1905"/>
                <a:solidFill>
                  <a:srgbClr val="1F497D">
                    <a:lumMod val="75000"/>
                  </a:srgbClr>
                </a:solidFill>
                <a:effectLst>
                  <a:innerShdw blurRad="69850" dist="43180" dir="5400000">
                    <a:srgbClr val="000000">
                      <a:alpha val="65000"/>
                    </a:srgbClr>
                  </a:innerShdw>
                </a:effectLst>
                <a:latin typeface="Calibri" panose="020F0502020204030204" pitchFamily="34" charset="0"/>
              </a:rPr>
              <a:t>Data Row 9</a:t>
            </a:r>
            <a:endParaRPr lang="en-US" sz="2100" b="1" kern="0" dirty="0">
              <a:ln w="1905"/>
              <a:solidFill>
                <a:srgbClr val="1F497D">
                  <a:lumMod val="60000"/>
                  <a:lumOff val="40000"/>
                </a:srgbClr>
              </a:solidFill>
              <a:effectLst>
                <a:innerShdw blurRad="69850" dist="43180" dir="5400000">
                  <a:srgbClr val="000000">
                    <a:alpha val="65000"/>
                  </a:srgbClr>
                </a:innerShdw>
              </a:effectLst>
              <a:latin typeface="Calibri" panose="020F0502020204030204" pitchFamily="34" charset="0"/>
            </a:endParaRPr>
          </a:p>
        </p:txBody>
      </p:sp>
      <p:sp>
        <p:nvSpPr>
          <p:cNvPr id="68" name="TextBox 67"/>
          <p:cNvSpPr txBox="1"/>
          <p:nvPr/>
        </p:nvSpPr>
        <p:spPr>
          <a:xfrm>
            <a:off x="621211" y="1562033"/>
            <a:ext cx="3714223" cy="1569660"/>
          </a:xfrm>
          <a:prstGeom prst="rect">
            <a:avLst/>
          </a:prstGeom>
          <a:noFill/>
        </p:spPr>
        <p:txBody>
          <a:bodyPr wrap="square" rtlCol="0">
            <a:spAutoFit/>
          </a:bodyPr>
          <a:lstStyle/>
          <a:p>
            <a:pPr defTabSz="914225">
              <a:defRPr/>
            </a:pPr>
            <a:r>
              <a:rPr lang="en-US" sz="2400" kern="0" dirty="0">
                <a:solidFill>
                  <a:sysClr val="windowText" lastClr="000000"/>
                </a:solidFill>
                <a:latin typeface="Segoe UI"/>
              </a:rPr>
              <a:t>Data stored in a Heap is not stored in any order and normally does not have a Primary Key.</a:t>
            </a:r>
          </a:p>
        </p:txBody>
      </p:sp>
      <p:sp>
        <p:nvSpPr>
          <p:cNvPr id="36" name="Title 3">
            <a:extLst>
              <a:ext uri="{FF2B5EF4-FFF2-40B4-BE49-F238E27FC236}">
                <a16:creationId xmlns:a16="http://schemas.microsoft.com/office/drawing/2014/main" id="{88444983-4E9B-4D69-B5F1-9C68ACFEBF6E}"/>
              </a:ext>
            </a:extLst>
          </p:cNvPr>
          <p:cNvSpPr txBox="1">
            <a:spLocks/>
          </p:cNvSpPr>
          <p:nvPr/>
        </p:nvSpPr>
        <p:spPr>
          <a:xfrm>
            <a:off x="283545" y="216812"/>
            <a:ext cx="11655840" cy="899537"/>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rgbClr val="0078D7"/>
                </a:solidFill>
                <a:effectLst/>
                <a:latin typeface="+mj-lt"/>
                <a:ea typeface="+mn-ea"/>
                <a:cs typeface="Segoe UI" pitchFamily="34" charset="0"/>
              </a:defRPr>
            </a:lvl1pPr>
          </a:lstStyle>
          <a:p>
            <a:pPr defTabSz="914367">
              <a:defRPr/>
            </a:pPr>
            <a:r>
              <a:rPr lang="en-US" sz="3200" spc="-100" dirty="0">
                <a:solidFill>
                  <a:srgbClr val="44546A"/>
                </a:solidFill>
                <a:latin typeface="Segoe UI Semibold" panose="020B0702040204020203" pitchFamily="34" charset="0"/>
              </a:rPr>
              <a:t>How Data is Stored in Data Pages</a:t>
            </a:r>
          </a:p>
        </p:txBody>
      </p:sp>
    </p:spTree>
    <p:extLst>
      <p:ext uri="{BB962C8B-B14F-4D97-AF65-F5344CB8AC3E}">
        <p14:creationId xmlns:p14="http://schemas.microsoft.com/office/powerpoint/2010/main" val="2150493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a:t>Heap</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a:t>A heap is a table without a clustered index</a:t>
            </a:r>
          </a:p>
        </p:txBody>
      </p:sp>
      <p:graphicFrame>
        <p:nvGraphicFramePr>
          <p:cNvPr id="5" name="Content Placeholder 4">
            <a:extLst>
              <a:ext uri="{FF2B5EF4-FFF2-40B4-BE49-F238E27FC236}">
                <a16:creationId xmlns:a16="http://schemas.microsoft.com/office/drawing/2014/main" id="{B4B3A3A5-9D01-4F4F-AACF-3434015E1C8E}"/>
              </a:ext>
            </a:extLst>
          </p:cNvPr>
          <p:cNvGraphicFramePr>
            <a:graphicFrameLocks noGrp="1"/>
          </p:cNvGraphicFramePr>
          <p:nvPr>
            <p:ph sz="quarter" idx="13"/>
            <p:extLst>
              <p:ext uri="{D42A27DB-BD31-4B8C-83A1-F6EECF244321}">
                <p14:modId xmlns:p14="http://schemas.microsoft.com/office/powerpoint/2010/main" val="3018482619"/>
              </p:ext>
            </p:extLst>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581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heme/theme1.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3.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Lesson Template Advanced Services Delivery" id="{C1C2A24F-D109-42E5-AC15-AA5D2EC769D9}" vid="{DB32FE43-934C-40BD-B03E-F7F2E05B8611}"/>
    </a:ext>
  </a:extLst>
</a:theme>
</file>

<file path=ppt/theme/theme4.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19EDF9-1291-4762-B099-14F0AC870E88}">
  <ds:schemaRefs>
    <ds:schemaRef ds:uri="Strauss.PersonalizationDefinition"/>
  </ds:schemaRefs>
</ds:datastoreItem>
</file>

<file path=customXml/itemProps10.xml><?xml version="1.0" encoding="utf-8"?>
<ds:datastoreItem xmlns:ds="http://schemas.openxmlformats.org/officeDocument/2006/customXml" ds:itemID="{8CD4B627-EB12-4927-9A17-7D2AD8CB44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1.xml><?xml version="1.0" encoding="utf-8"?>
<ds:datastoreItem xmlns:ds="http://schemas.openxmlformats.org/officeDocument/2006/customXml" ds:itemID="{8A4789B3-563F-4B20-AF11-A45A6247B950}">
  <ds:schemaRefs>
    <ds:schemaRef ds:uri="Strauss.PersonalizationDefinition"/>
  </ds:schemaRefs>
</ds:datastoreItem>
</file>

<file path=customXml/itemProps12.xml><?xml version="1.0" encoding="utf-8"?>
<ds:datastoreItem xmlns:ds="http://schemas.openxmlformats.org/officeDocument/2006/customXml" ds:itemID="{CD086AF5-CCD3-41C8-B98A-2B159789D38E}">
  <ds:schemaRefs>
    <ds:schemaRef ds:uri="Strauss.PersonalizationDefinition"/>
  </ds:schemaRefs>
</ds:datastoreItem>
</file>

<file path=customXml/itemProps13.xml><?xml version="1.0" encoding="utf-8"?>
<ds:datastoreItem xmlns:ds="http://schemas.openxmlformats.org/officeDocument/2006/customXml" ds:itemID="{C5285313-F55F-42C2-BF9A-066CABB51CDB}">
  <ds:schemaRefs>
    <ds:schemaRef ds:uri="Strauss.PersonalizationDefinition"/>
  </ds:schemaRefs>
</ds:datastoreItem>
</file>

<file path=customXml/itemProps14.xml><?xml version="1.0" encoding="utf-8"?>
<ds:datastoreItem xmlns:ds="http://schemas.openxmlformats.org/officeDocument/2006/customXml" ds:itemID="{E94F93E1-B51B-4F21-B40A-9F5074032AC3}">
  <ds:schemaRefs>
    <ds:schemaRef ds:uri="Strauss.PersonalizationDefinition"/>
  </ds:schemaRefs>
</ds:datastoreItem>
</file>

<file path=customXml/itemProps15.xml><?xml version="1.0" encoding="utf-8"?>
<ds:datastoreItem xmlns:ds="http://schemas.openxmlformats.org/officeDocument/2006/customXml" ds:itemID="{7EBE0A8A-B704-4FA4-AF38-F514A4816D9A}">
  <ds:schemaRefs>
    <ds:schemaRef ds:uri="Strauss.PersonalizationDefinition"/>
  </ds:schemaRefs>
</ds:datastoreItem>
</file>

<file path=customXml/itemProps2.xml><?xml version="1.0" encoding="utf-8"?>
<ds:datastoreItem xmlns:ds="http://schemas.openxmlformats.org/officeDocument/2006/customXml" ds:itemID="{35A184F6-9A4D-432E-BD2E-8543C142498D}">
  <ds:schemaRefs>
    <ds:schemaRef ds:uri="Strauss.PersonalizationDefinition"/>
  </ds:schemaRefs>
</ds:datastoreItem>
</file>

<file path=customXml/itemProps3.xml><?xml version="1.0" encoding="utf-8"?>
<ds:datastoreItem xmlns:ds="http://schemas.openxmlformats.org/officeDocument/2006/customXml" ds:itemID="{4C04CDDE-2D6B-4F45-8A75-E18007E562B8}">
  <ds:schemaRefs>
    <ds:schemaRef ds:uri="Strauss.PersonalizationDefinition"/>
  </ds:schemaRefs>
</ds:datastoreItem>
</file>

<file path=customXml/itemProps4.xml><?xml version="1.0" encoding="utf-8"?>
<ds:datastoreItem xmlns:ds="http://schemas.openxmlformats.org/officeDocument/2006/customXml" ds:itemID="{FDF350C7-94E8-4D0F-AE22-38F437380DED}">
  <ds:schemaRefs>
    <ds:schemaRef ds:uri="Strauss.PersonalizationDefinition"/>
  </ds:schemaRefs>
</ds:datastoreItem>
</file>

<file path=customXml/itemProps5.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s>
</ds:datastoreItem>
</file>

<file path=customXml/itemProps6.xml><?xml version="1.0" encoding="utf-8"?>
<ds:datastoreItem xmlns:ds="http://schemas.openxmlformats.org/officeDocument/2006/customXml" ds:itemID="{75C05EC8-D295-4080-807A-6EA8C339A657}">
  <ds:schemaRefs>
    <ds:schemaRef ds:uri="Strauss.PersonalizationDefinition"/>
  </ds:schemaRefs>
</ds:datastoreItem>
</file>

<file path=customXml/itemProps7.xml><?xml version="1.0" encoding="utf-8"?>
<ds:datastoreItem xmlns:ds="http://schemas.openxmlformats.org/officeDocument/2006/customXml" ds:itemID="{9EEC7FED-AC7D-45C9-8F29-C2C8A7233C3D}">
  <ds:schemaRefs>
    <ds:schemaRef ds:uri="Strauss.PersonalizationDefinition"/>
  </ds:schemaRefs>
</ds:datastoreItem>
</file>

<file path=customXml/itemProps8.xml><?xml version="1.0" encoding="utf-8"?>
<ds:datastoreItem xmlns:ds="http://schemas.openxmlformats.org/officeDocument/2006/customXml" ds:itemID="{EBCC33FC-94BB-4B1D-A4C6-D2E6A3A4B1FD}">
  <ds:schemaRefs>
    <ds:schemaRef ds:uri="Strauss.PersonalizationDefinition"/>
  </ds:schemaRefs>
</ds:datastoreItem>
</file>

<file path=customXml/itemProps9.xml><?xml version="1.0" encoding="utf-8"?>
<ds:datastoreItem xmlns:ds="http://schemas.openxmlformats.org/officeDocument/2006/customXml" ds:itemID="{8F4CBF12-53FB-4126-B801-12CCF3B1A0C2}">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966</TotalTime>
  <Words>11980</Words>
  <Application>Microsoft Office PowerPoint</Application>
  <PresentationFormat>Widescreen</PresentationFormat>
  <Paragraphs>1029</Paragraphs>
  <Slides>59</Slides>
  <Notes>48</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59</vt:i4>
      </vt:variant>
    </vt:vector>
  </HeadingPairs>
  <TitlesOfParts>
    <vt:vector size="72" baseType="lpstr">
      <vt:lpstr>Arial</vt:lpstr>
      <vt:lpstr>Calibri</vt:lpstr>
      <vt:lpstr>Calibri Light</vt:lpstr>
      <vt:lpstr>Century Gothic</vt:lpstr>
      <vt:lpstr>Comic Sans MS</vt:lpstr>
      <vt:lpstr>Consolas</vt:lpstr>
      <vt:lpstr>Segoe UI</vt:lpstr>
      <vt:lpstr>Segoe UI Light</vt:lpstr>
      <vt:lpstr>Segoe UI Semibold</vt:lpstr>
      <vt:lpstr>Wingdings</vt:lpstr>
      <vt:lpstr>Dark Blue</vt:lpstr>
      <vt:lpstr>PASS 2013_SpeakerTemplate_Final</vt:lpstr>
      <vt:lpstr>WHITE TEMPLATE</vt:lpstr>
      <vt:lpstr>SQL Server Indexes and Statistics</vt:lpstr>
      <vt:lpstr>Learning Units covered in this Module</vt:lpstr>
      <vt:lpstr>Lesson 1: Index Internals </vt:lpstr>
      <vt:lpstr>Objectives</vt:lpstr>
      <vt:lpstr>What is an Index?</vt:lpstr>
      <vt:lpstr>What is SARGability?</vt:lpstr>
      <vt:lpstr>PowerPoint Presentation</vt:lpstr>
      <vt:lpstr>PowerPoint Presentation</vt:lpstr>
      <vt:lpstr>Heap</vt:lpstr>
      <vt:lpstr>Heap Structures</vt:lpstr>
      <vt:lpstr>Clustered Indexes</vt:lpstr>
      <vt:lpstr>Clustered Index Structure</vt:lpstr>
      <vt:lpstr>Demonstration</vt:lpstr>
      <vt:lpstr>Non-Clustered Indexes</vt:lpstr>
      <vt:lpstr>Non-Clustered Index Structure</vt:lpstr>
      <vt:lpstr>Clustered vs Nonclustered Indexes</vt:lpstr>
      <vt:lpstr>Bookmark Lookup or RID lookup </vt:lpstr>
      <vt:lpstr>Key Lookup </vt:lpstr>
      <vt:lpstr>Non-Clustered Index with Included Column </vt:lpstr>
      <vt:lpstr>Demonstration</vt:lpstr>
      <vt:lpstr>Questions?</vt:lpstr>
      <vt:lpstr>Lesson 2: Index Strategy</vt:lpstr>
      <vt:lpstr>Objectives</vt:lpstr>
      <vt:lpstr>Characteristics of a Good Clustering Key</vt:lpstr>
      <vt:lpstr>Best Practices for Clustered indexes</vt:lpstr>
      <vt:lpstr>Clustered Index vs Primary key considerations</vt:lpstr>
      <vt:lpstr>Non-Clustered Index Strategy</vt:lpstr>
      <vt:lpstr>Single Vs Multi-column indexes</vt:lpstr>
      <vt:lpstr>Multi-Column Indexing Access </vt:lpstr>
      <vt:lpstr>Lesson 3: Index Monitoring and Fragmentation</vt:lpstr>
      <vt:lpstr>Objectives</vt:lpstr>
      <vt:lpstr>Why to monitor Index usage</vt:lpstr>
      <vt:lpstr>Clustered Index usage patterns</vt:lpstr>
      <vt:lpstr>Non-Clustered Index usage patterns</vt:lpstr>
      <vt:lpstr>sys.dm_db_index_usage_stats</vt:lpstr>
      <vt:lpstr>sys.dm_db_index_operational_stats </vt:lpstr>
      <vt:lpstr>sys.dm_db_index_physical_stats </vt:lpstr>
      <vt:lpstr>Fragmentation</vt:lpstr>
      <vt:lpstr>Page Splits</vt:lpstr>
      <vt:lpstr>Read-Ahead Scans</vt:lpstr>
      <vt:lpstr>SQL Index Fragmentation and Maintenance options</vt:lpstr>
      <vt:lpstr>Fill Factor</vt:lpstr>
      <vt:lpstr>Reducing fragmentation</vt:lpstr>
      <vt:lpstr>Missing Index Recommendations</vt:lpstr>
      <vt:lpstr>Choosing Indexes </vt:lpstr>
      <vt:lpstr>Demonstration</vt:lpstr>
      <vt:lpstr>Lesson 4: SQL Server Statistics Internals</vt:lpstr>
      <vt:lpstr>Objectives</vt:lpstr>
      <vt:lpstr>SQL Server statistics</vt:lpstr>
      <vt:lpstr>Statistics components</vt:lpstr>
      <vt:lpstr>Statistics components</vt:lpstr>
      <vt:lpstr>Showing Statistics</vt:lpstr>
      <vt:lpstr>Showing Statistics</vt:lpstr>
      <vt:lpstr>Automatically created statistics</vt:lpstr>
      <vt:lpstr>Manually created Statistics</vt:lpstr>
      <vt:lpstr>Available tools to review statistics</vt:lpstr>
      <vt:lpstr>Demonstration</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Index Structure</dc:title>
  <dc:creator>boB Taylor</dc:creator>
  <cp:lastModifiedBy>John Deardurff</cp:lastModifiedBy>
  <cp:revision>51</cp:revision>
  <dcterms:created xsi:type="dcterms:W3CDTF">2020-03-17T15:54:44Z</dcterms:created>
  <dcterms:modified xsi:type="dcterms:W3CDTF">2022-08-11T15:4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ies>
</file>